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heme/theme2.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heme/theme3.xml" ContentType="application/vnd.openxmlformats-officedocument.them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5" r:id="rId5"/>
  </p:sldMasterIdLst>
  <p:notesMasterIdLst>
    <p:notesMasterId r:id="rId67"/>
  </p:notesMasterIdLst>
  <p:handoutMasterIdLst>
    <p:handoutMasterId r:id="rId68"/>
  </p:handoutMasterIdLst>
  <p:sldIdLst>
    <p:sldId id="347" r:id="rId6"/>
    <p:sldId id="258" r:id="rId7"/>
    <p:sldId id="428" r:id="rId8"/>
    <p:sldId id="492" r:id="rId9"/>
    <p:sldId id="498" r:id="rId10"/>
    <p:sldId id="499" r:id="rId11"/>
    <p:sldId id="508" r:id="rId12"/>
    <p:sldId id="500" r:id="rId13"/>
    <p:sldId id="501" r:id="rId14"/>
    <p:sldId id="502" r:id="rId15"/>
    <p:sldId id="503" r:id="rId16"/>
    <p:sldId id="504" r:id="rId17"/>
    <p:sldId id="505" r:id="rId18"/>
    <p:sldId id="506" r:id="rId19"/>
    <p:sldId id="496" r:id="rId20"/>
    <p:sldId id="507" r:id="rId21"/>
    <p:sldId id="509" r:id="rId22"/>
    <p:sldId id="510" r:id="rId23"/>
    <p:sldId id="511" r:id="rId24"/>
    <p:sldId id="497" r:id="rId25"/>
    <p:sldId id="423" r:id="rId26"/>
    <p:sldId id="493" r:id="rId27"/>
    <p:sldId id="494" r:id="rId28"/>
    <p:sldId id="495" r:id="rId29"/>
    <p:sldId id="489" r:id="rId30"/>
    <p:sldId id="490" r:id="rId31"/>
    <p:sldId id="491" r:id="rId32"/>
    <p:sldId id="430" r:id="rId33"/>
    <p:sldId id="429" r:id="rId34"/>
    <p:sldId id="459" r:id="rId35"/>
    <p:sldId id="461" r:id="rId36"/>
    <p:sldId id="462" r:id="rId37"/>
    <p:sldId id="464" r:id="rId38"/>
    <p:sldId id="463" r:id="rId39"/>
    <p:sldId id="467" r:id="rId40"/>
    <p:sldId id="466" r:id="rId41"/>
    <p:sldId id="465" r:id="rId42"/>
    <p:sldId id="471" r:id="rId43"/>
    <p:sldId id="472" r:id="rId44"/>
    <p:sldId id="473" r:id="rId45"/>
    <p:sldId id="468" r:id="rId46"/>
    <p:sldId id="469" r:id="rId47"/>
    <p:sldId id="470" r:id="rId48"/>
    <p:sldId id="474" r:id="rId49"/>
    <p:sldId id="475" r:id="rId50"/>
    <p:sldId id="476" r:id="rId51"/>
    <p:sldId id="477" r:id="rId52"/>
    <p:sldId id="482" r:id="rId53"/>
    <p:sldId id="481" r:id="rId54"/>
    <p:sldId id="480" r:id="rId55"/>
    <p:sldId id="478" r:id="rId56"/>
    <p:sldId id="479" r:id="rId57"/>
    <p:sldId id="483" r:id="rId58"/>
    <p:sldId id="484" r:id="rId59"/>
    <p:sldId id="485" r:id="rId60"/>
    <p:sldId id="486" r:id="rId61"/>
    <p:sldId id="487" r:id="rId62"/>
    <p:sldId id="488" r:id="rId63"/>
    <p:sldId id="417" r:id="rId64"/>
    <p:sldId id="358" r:id="rId65"/>
    <p:sldId id="257" r:id="rId66"/>
  </p:sldIdLst>
  <p:sldSz cx="12192000" cy="6858000"/>
  <p:notesSz cx="7099300" cy="10234613"/>
  <p:custDataLst>
    <p:tags r:id="rId69"/>
  </p:custDataLst>
  <p:defaultTex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040" userDrawn="1">
          <p15:clr>
            <a:srgbClr val="A4A3A4"/>
          </p15:clr>
        </p15:guide>
      </p15:sldGuideLst>
    </p:ext>
    <p:ext uri="{2D200454-40CA-4A62-9FC3-DE9A4176ACB9}">
      <p15:notesGuideLst xmlns:p15="http://schemas.microsoft.com/office/powerpoint/2012/main">
        <p15:guide id="1" orient="horz" pos="187">
          <p15:clr>
            <a:srgbClr val="A4A3A4"/>
          </p15:clr>
        </p15:guide>
        <p15:guide id="2" orient="horz" pos="638">
          <p15:clr>
            <a:srgbClr val="A4A3A4"/>
          </p15:clr>
        </p15:guide>
        <p15:guide id="3" orient="horz" pos="453">
          <p15:clr>
            <a:srgbClr val="A4A3A4"/>
          </p15:clr>
        </p15:guide>
        <p15:guide id="4" orient="horz" pos="6262">
          <p15:clr>
            <a:srgbClr val="A4A3A4"/>
          </p15:clr>
        </p15:guide>
        <p15:guide id="5" pos="4186">
          <p15:clr>
            <a:srgbClr val="A4A3A4"/>
          </p15:clr>
        </p15:guide>
        <p15:guide id="6" pos="286">
          <p15:clr>
            <a:srgbClr val="A4A3A4"/>
          </p15:clr>
        </p15:guide>
        <p15:guide id="7" pos="830">
          <p15:clr>
            <a:srgbClr val="A4A3A4"/>
          </p15:clr>
        </p15:guide>
        <p15:guide id="8" pos="386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B2E013-D972-11A8-9168-6BC259BE9AAC}" name="Luca Ricci" initials="LR" userId="S::10451631@polimi.it::ee5f09d5-0832-4e68-94c9-d8bfd2ad04f0" providerId="AD"/>
  <p188:author id="{7289294F-BB4E-3CFA-410A-727A10F9B155}" name="Gabriele Zanoletti" initials="GZ" userId="S::10607105@polimi.it::fc6666fa-3441-4ddc-a8b9-f69fbbdf5644" providerId="AD"/>
  <p188:author id="{EF6AC25E-B7D0-85C1-A6F6-40247FD68121}" name="Michele Rocco" initials="MR" userId="S::10749058@polimi.it::b98ebe7a-7641-4b10-bb82-27245654a50a" providerId="AD"/>
  <p188:author id="{9732C2EA-D5AC-3619-A13B-2163F8276712}" name="Gabriele Be'" initials="GB" userId="S::10455288@polimi.it::7bf626d5-9dae-4fe7-9b21-8b110831bcf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18FF"/>
    <a:srgbClr val="FFFFFF"/>
    <a:srgbClr val="C3D0DD"/>
    <a:srgbClr val="1D1D1A"/>
    <a:srgbClr val="FCD442"/>
    <a:srgbClr val="FF6666"/>
    <a:srgbClr val="4DB6AF"/>
    <a:srgbClr val="1D1D6F"/>
    <a:srgbClr val="B6CACA"/>
    <a:srgbClr val="7390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0633A6-D8FA-2343-AEB0-3F442ECCECB1}" v="7" dt="2024-10-17T12:58:42.957"/>
  </p1510:revLst>
</p1510:revInfo>
</file>

<file path=ppt/tableStyles.xml><?xml version="1.0" encoding="utf-8"?>
<a:tblStyleLst xmlns:a="http://schemas.openxmlformats.org/drawingml/2006/main" def="{69012ECD-51FC-41F1-AA8D-1B2483CD663E}">
  <a:tblStyle styleId="{21E4AEA4-8DFA-4A89-87EB-49C32662AFE0}" styleName="Medium Style 2 - Accent 2">
    <a:wholeTbl>
      <a:tcTxStyle>
        <a:fontRef idx="minor">
          <a:prstClr val="black"/>
        </a:fontRef>
        <a:schemeClr val="dk1"/>
      </a:tcTxStyle>
      <a:tcStyle>
        <a:tcBdr>
          <a:left>
            <a:ln w="9525" cmpd="sng">
              <a:solidFill>
                <a:schemeClr val="lt1"/>
              </a:solidFill>
            </a:ln>
          </a:left>
          <a:right>
            <a:ln w="9525" cmpd="sng">
              <a:solidFill>
                <a:srgbClr val="FFFFFF"/>
              </a:solidFill>
            </a:ln>
          </a:right>
          <a:top>
            <a:ln w="9525" cmpd="sng">
              <a:solidFill>
                <a:srgbClr val="FFFFFF"/>
              </a:solidFill>
            </a:ln>
          </a:top>
          <a:bottom>
            <a:ln w="9525" cmpd="sng">
              <a:solidFill>
                <a:srgbClr val="FFFFFF"/>
              </a:solidFill>
            </a:ln>
          </a:bottom>
          <a:insideH>
            <a:ln w="9525" cmpd="sng">
              <a:solidFill>
                <a:srgbClr val="FFFFFF"/>
              </a:solidFill>
            </a:ln>
          </a:insideH>
          <a:insideV>
            <a:ln w="9525" cmpd="sng">
              <a:solidFill>
                <a:srgbClr val="FFFFFF"/>
              </a:solidFill>
            </a:ln>
          </a:insideV>
        </a:tcBdr>
        <a:fill>
          <a:solidFill>
            <a:schemeClr val="lt2"/>
          </a:solidFill>
        </a:fill>
      </a:tcStyle>
    </a:wholeTbl>
    <a:band1H>
      <a:tcStyle>
        <a:tcBdr/>
      </a:tcStyle>
    </a:band1H>
    <a:band2H>
      <a:tcTxStyle>
        <a:fontRef idx="minor">
          <a:prstClr val="white"/>
        </a:fontRef>
        <a:schemeClr val="lt1"/>
      </a:tcTxStyle>
      <a:tcStyle>
        <a:tcBdr/>
        <a:fill>
          <a:solidFill>
            <a:schemeClr val="accent2"/>
          </a:solidFill>
        </a:fill>
      </a:tcStyle>
    </a:band2H>
    <a:band1V>
      <a:tcStyle>
        <a:tcBdr/>
      </a:tcStyle>
    </a:band1V>
    <a:band2V>
      <a:tcTxStyle>
        <a:fontRef idx="minor">
          <a:prstClr val="white"/>
        </a:fontRef>
        <a:schemeClr val="lt1"/>
      </a:tcTxStyle>
      <a:tcStyle>
        <a:tcBdr/>
        <a:fill>
          <a:solidFill>
            <a:schemeClr val="accent2"/>
          </a:solidFill>
        </a:fill>
      </a:tcStyle>
    </a:band2V>
    <a:lastCol>
      <a:tcTxStyle b="on">
        <a:fontRef idx="minor">
          <a:prstClr val="white"/>
        </a:fontRef>
        <a:schemeClr val="lt1"/>
      </a:tcTxStyle>
      <a:tcStyle>
        <a:tcBdr/>
        <a:fill>
          <a:solidFill>
            <a:schemeClr val="accent2"/>
          </a:solidFill>
        </a:fill>
      </a:tcStyle>
    </a:lastCol>
    <a:firstCol>
      <a:tcTxStyle b="on">
        <a:fontRef idx="minor">
          <a:prstClr val="white"/>
        </a:fontRef>
        <a:schemeClr val="lt1"/>
      </a:tcTxStyle>
      <a:tcStyle>
        <a:tcBdr/>
        <a:fill>
          <a:solidFill>
            <a:schemeClr val="accent2"/>
          </a:solidFill>
        </a:fill>
      </a:tcStyle>
    </a:firstCol>
    <a:lastRow>
      <a:tcTxStyle b="on">
        <a:fontRef idx="minor">
          <a:prstClr val="white"/>
        </a:fontRef>
        <a:schemeClr val="lt1"/>
      </a:tcTxStyle>
      <a:tcStyle>
        <a:tcBdr/>
        <a:fill>
          <a:solidFill>
            <a:schemeClr val="accent2"/>
          </a:solidFill>
        </a:fill>
      </a:tcStyle>
    </a:lastRow>
    <a:firstRow>
      <a:tcTxStyle b="on">
        <a:fontRef idx="minor">
          <a:prstClr val="white"/>
        </a:fontRef>
        <a:schemeClr val="lt1"/>
      </a:tcTxStyle>
      <a:tcStyle>
        <a:tcBdr/>
        <a:fill>
          <a:solidFill>
            <a:schemeClr val="accent2"/>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263"/>
    <p:restoredTop sz="96327"/>
  </p:normalViewPr>
  <p:slideViewPr>
    <p:cSldViewPr snapToGrid="0">
      <p:cViewPr varScale="1">
        <p:scale>
          <a:sx n="79" d="100"/>
          <a:sy n="79" d="100"/>
        </p:scale>
        <p:origin x="883" y="77"/>
      </p:cViewPr>
      <p:guideLst>
        <p:guide pos="3840"/>
        <p:guide orient="horz" pos="2040"/>
      </p:guideLst>
    </p:cSldViewPr>
  </p:slideViewPr>
  <p:notesTextViewPr>
    <p:cViewPr>
      <p:scale>
        <a:sx n="1" d="1"/>
        <a:sy n="1" d="1"/>
      </p:scale>
      <p:origin x="0" y="0"/>
    </p:cViewPr>
  </p:notesTextViewPr>
  <p:notesViewPr>
    <p:cSldViewPr snapToGrid="0">
      <p:cViewPr>
        <p:scale>
          <a:sx n="1" d="2"/>
          <a:sy n="1" d="2"/>
        </p:scale>
        <p:origin x="0" y="0"/>
      </p:cViewPr>
      <p:guideLst>
        <p:guide orient="horz" pos="187"/>
        <p:guide orient="horz" pos="638"/>
        <p:guide orient="horz" pos="453"/>
        <p:guide orient="horz" pos="6262"/>
        <p:guide pos="4186"/>
        <p:guide pos="286"/>
        <p:guide pos="830"/>
        <p:guide pos="386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microsoft.com/office/2016/11/relationships/changesInfo" Target="changesInfos/changesInfo1.xml"/><Relationship Id="rId5" Type="http://schemas.openxmlformats.org/officeDocument/2006/relationships/slideMaster" Target="slideMasters/slideMaster1.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microsoft.com/office/2018/10/relationships/authors" Target="authors.xml"/><Relationship Id="rId7" Type="http://schemas.openxmlformats.org/officeDocument/2006/relationships/slide" Target="slides/slide2.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ele Rocco" userId="b98ebe7a-7641-4b10-bb82-27245654a50a" providerId="ADAL" clId="{74284C1D-32AE-4790-9EEE-CE796524812A}"/>
    <pc:docChg chg="custSel addSld modSld">
      <pc:chgData name="Michele Rocco" userId="b98ebe7a-7641-4b10-bb82-27245654a50a" providerId="ADAL" clId="{74284C1D-32AE-4790-9EEE-CE796524812A}" dt="2024-01-25T09:43:45.383" v="307" actId="14100"/>
      <pc:docMkLst>
        <pc:docMk/>
      </pc:docMkLst>
      <pc:sldChg chg="modSp">
        <pc:chgData name="Michele Rocco" userId="b98ebe7a-7641-4b10-bb82-27245654a50a" providerId="ADAL" clId="{74284C1D-32AE-4790-9EEE-CE796524812A}" dt="2024-01-25T09:39:18.464" v="26" actId="14826"/>
        <pc:sldMkLst>
          <pc:docMk/>
          <pc:sldMk cId="2889248117" sldId="341"/>
        </pc:sldMkLst>
        <pc:picChg chg="mod">
          <ac:chgData name="Michele Rocco" userId="b98ebe7a-7641-4b10-bb82-27245654a50a" providerId="ADAL" clId="{74284C1D-32AE-4790-9EEE-CE796524812A}" dt="2024-01-25T09:34:48.012" v="24" actId="14826"/>
          <ac:picMkLst>
            <pc:docMk/>
            <pc:sldMk cId="2889248117" sldId="341"/>
            <ac:picMk id="8" creationId="{4E06B517-27D0-7536-7A62-547AE5DF44B7}"/>
          </ac:picMkLst>
        </pc:picChg>
        <pc:picChg chg="mod">
          <ac:chgData name="Michele Rocco" userId="b98ebe7a-7641-4b10-bb82-27245654a50a" providerId="ADAL" clId="{74284C1D-32AE-4790-9EEE-CE796524812A}" dt="2024-01-25T09:39:18.464" v="26" actId="14826"/>
          <ac:picMkLst>
            <pc:docMk/>
            <pc:sldMk cId="2889248117" sldId="341"/>
            <ac:picMk id="9" creationId="{82C8B22C-5244-067F-5B13-F271C2408764}"/>
          </ac:picMkLst>
        </pc:picChg>
      </pc:sldChg>
      <pc:sldChg chg="modSp">
        <pc:chgData name="Michele Rocco" userId="b98ebe7a-7641-4b10-bb82-27245654a50a" providerId="ADAL" clId="{74284C1D-32AE-4790-9EEE-CE796524812A}" dt="2024-01-25T09:32:12.464" v="20" actId="14826"/>
        <pc:sldMkLst>
          <pc:docMk/>
          <pc:sldMk cId="3557329851" sldId="343"/>
        </pc:sldMkLst>
        <pc:picChg chg="mod">
          <ac:chgData name="Michele Rocco" userId="b98ebe7a-7641-4b10-bb82-27245654a50a" providerId="ADAL" clId="{74284C1D-32AE-4790-9EEE-CE796524812A}" dt="2024-01-25T09:32:12.464" v="20" actId="14826"/>
          <ac:picMkLst>
            <pc:docMk/>
            <pc:sldMk cId="3557329851" sldId="343"/>
            <ac:picMk id="6" creationId="{8B3388DE-C928-EFB8-A9A8-305C76A80A65}"/>
          </ac:picMkLst>
        </pc:picChg>
      </pc:sldChg>
      <pc:sldChg chg="modSp">
        <pc:chgData name="Michele Rocco" userId="b98ebe7a-7641-4b10-bb82-27245654a50a" providerId="ADAL" clId="{74284C1D-32AE-4790-9EEE-CE796524812A}" dt="2024-01-25T09:39:04.996" v="25" actId="14826"/>
        <pc:sldMkLst>
          <pc:docMk/>
          <pc:sldMk cId="782384403" sldId="345"/>
        </pc:sldMkLst>
        <pc:picChg chg="mod">
          <ac:chgData name="Michele Rocco" userId="b98ebe7a-7641-4b10-bb82-27245654a50a" providerId="ADAL" clId="{74284C1D-32AE-4790-9EEE-CE796524812A}" dt="2024-01-25T09:33:22.131" v="23" actId="14826"/>
          <ac:picMkLst>
            <pc:docMk/>
            <pc:sldMk cId="782384403" sldId="345"/>
            <ac:picMk id="6" creationId="{DA248A1A-2898-B3B9-3A5B-2232F0DE2EBE}"/>
          </ac:picMkLst>
        </pc:picChg>
        <pc:picChg chg="mod">
          <ac:chgData name="Michele Rocco" userId="b98ebe7a-7641-4b10-bb82-27245654a50a" providerId="ADAL" clId="{74284C1D-32AE-4790-9EEE-CE796524812A}" dt="2024-01-25T09:39:04.996" v="25" actId="14826"/>
          <ac:picMkLst>
            <pc:docMk/>
            <pc:sldMk cId="782384403" sldId="345"/>
            <ac:picMk id="7" creationId="{7F7D1DFD-32E0-56CE-FCD2-56ACA5464BDB}"/>
          </ac:picMkLst>
        </pc:picChg>
      </pc:sldChg>
      <pc:sldChg chg="addSp delSp modSp new mod">
        <pc:chgData name="Michele Rocco" userId="b98ebe7a-7641-4b10-bb82-27245654a50a" providerId="ADAL" clId="{74284C1D-32AE-4790-9EEE-CE796524812A}" dt="2024-01-25T09:43:45.383" v="307" actId="14100"/>
        <pc:sldMkLst>
          <pc:docMk/>
          <pc:sldMk cId="3489691726" sldId="348"/>
        </pc:sldMkLst>
        <pc:spChg chg="del">
          <ac:chgData name="Michele Rocco" userId="b98ebe7a-7641-4b10-bb82-27245654a50a" providerId="ADAL" clId="{74284C1D-32AE-4790-9EEE-CE796524812A}" dt="2024-01-25T09:24:11.923" v="1" actId="931"/>
          <ac:spMkLst>
            <pc:docMk/>
            <pc:sldMk cId="3489691726" sldId="348"/>
            <ac:spMk id="2" creationId="{DCB031FC-EF8A-4AB0-7C7C-22716AD2D961}"/>
          </ac:spMkLst>
        </pc:spChg>
        <pc:spChg chg="mod">
          <ac:chgData name="Michele Rocco" userId="b98ebe7a-7641-4b10-bb82-27245654a50a" providerId="ADAL" clId="{74284C1D-32AE-4790-9EEE-CE796524812A}" dt="2024-01-25T09:40:05.943" v="75" actId="20577"/>
          <ac:spMkLst>
            <pc:docMk/>
            <pc:sldMk cId="3489691726" sldId="348"/>
            <ac:spMk id="3" creationId="{C80883C9-0B4F-5E5B-C507-319F8B0A12C7}"/>
          </ac:spMkLst>
        </pc:spChg>
        <pc:spChg chg="add mod">
          <ac:chgData name="Michele Rocco" userId="b98ebe7a-7641-4b10-bb82-27245654a50a" providerId="ADAL" clId="{74284C1D-32AE-4790-9EEE-CE796524812A}" dt="2024-01-25T09:43:45.383" v="307" actId="14100"/>
          <ac:spMkLst>
            <pc:docMk/>
            <pc:sldMk cId="3489691726" sldId="348"/>
            <ac:spMk id="6" creationId="{91623543-6B41-2D96-D1AA-92E18BFE0BFF}"/>
          </ac:spMkLst>
        </pc:spChg>
        <pc:spChg chg="add del mod">
          <ac:chgData name="Michele Rocco" userId="b98ebe7a-7641-4b10-bb82-27245654a50a" providerId="ADAL" clId="{74284C1D-32AE-4790-9EEE-CE796524812A}" dt="2024-01-25T09:27:14.656" v="3" actId="931"/>
          <ac:spMkLst>
            <pc:docMk/>
            <pc:sldMk cId="3489691726" sldId="348"/>
            <ac:spMk id="9" creationId="{8DAC2F81-B833-9C12-BA06-629DE1AE691B}"/>
          </ac:spMkLst>
        </pc:spChg>
        <pc:picChg chg="add mod">
          <ac:chgData name="Michele Rocco" userId="b98ebe7a-7641-4b10-bb82-27245654a50a" providerId="ADAL" clId="{74284C1D-32AE-4790-9EEE-CE796524812A}" dt="2024-01-25T09:40:28.986" v="82" actId="1076"/>
          <ac:picMkLst>
            <pc:docMk/>
            <pc:sldMk cId="3489691726" sldId="348"/>
            <ac:picMk id="7" creationId="{BF47B201-4C7A-808B-4502-11BCAE8039BE}"/>
          </ac:picMkLst>
        </pc:picChg>
        <pc:picChg chg="add del mod">
          <ac:chgData name="Michele Rocco" userId="b98ebe7a-7641-4b10-bb82-27245654a50a" providerId="ADAL" clId="{74284C1D-32AE-4790-9EEE-CE796524812A}" dt="2024-01-25T09:26:13.421" v="2" actId="478"/>
          <ac:picMkLst>
            <pc:docMk/>
            <pc:sldMk cId="3489691726" sldId="348"/>
            <ac:picMk id="7" creationId="{EB02817B-42D0-BEF7-70D3-71CABA2CDFB1}"/>
          </ac:picMkLst>
        </pc:picChg>
        <pc:picChg chg="add del mod">
          <ac:chgData name="Michele Rocco" userId="b98ebe7a-7641-4b10-bb82-27245654a50a" providerId="ADAL" clId="{74284C1D-32AE-4790-9EEE-CE796524812A}" dt="2024-01-25T09:40:13.979" v="78" actId="21"/>
          <ac:picMkLst>
            <pc:docMk/>
            <pc:sldMk cId="3489691726" sldId="348"/>
            <ac:picMk id="11" creationId="{BF47B201-4C7A-808B-4502-11BCAE8039BE}"/>
          </ac:picMkLst>
        </pc:picChg>
      </pc:sldChg>
    </pc:docChg>
  </pc:docChgLst>
  <pc:docChgLst>
    <pc:chgData name="Luca Ricci" userId="ee5f09d5-0832-4e68-94c9-d8bfd2ad04f0" providerId="ADAL" clId="{4BC29580-8BCE-764B-9666-98CD2F633B19}"/>
    <pc:docChg chg="custSel modSld">
      <pc:chgData name="Luca Ricci" userId="ee5f09d5-0832-4e68-94c9-d8bfd2ad04f0" providerId="ADAL" clId="{4BC29580-8BCE-764B-9666-98CD2F633B19}" dt="2023-11-30T10:44:52.882" v="4" actId="700"/>
      <pc:docMkLst>
        <pc:docMk/>
      </pc:docMkLst>
      <pc:sldChg chg="addSp delSp modSp mod modClrScheme chgLayout">
        <pc:chgData name="Luca Ricci" userId="ee5f09d5-0832-4e68-94c9-d8bfd2ad04f0" providerId="ADAL" clId="{4BC29580-8BCE-764B-9666-98CD2F633B19}" dt="2023-11-30T10:44:52.882" v="4" actId="700"/>
        <pc:sldMkLst>
          <pc:docMk/>
          <pc:sldMk cId="913701754" sldId="267"/>
        </pc:sldMkLst>
        <pc:spChg chg="add del mod ord">
          <ac:chgData name="Luca Ricci" userId="ee5f09d5-0832-4e68-94c9-d8bfd2ad04f0" providerId="ADAL" clId="{4BC29580-8BCE-764B-9666-98CD2F633B19}" dt="2023-11-30T10:44:46.376" v="1" actId="700"/>
          <ac:spMkLst>
            <pc:docMk/>
            <pc:sldMk cId="913701754" sldId="267"/>
            <ac:spMk id="2" creationId="{187947C4-6ED7-79CA-42CC-9ED1FCB56DBB}"/>
          </ac:spMkLst>
        </pc:spChg>
        <pc:spChg chg="add del mod ord">
          <ac:chgData name="Luca Ricci" userId="ee5f09d5-0832-4e68-94c9-d8bfd2ad04f0" providerId="ADAL" clId="{4BC29580-8BCE-764B-9666-98CD2F633B19}" dt="2023-11-30T10:44:46.376" v="1" actId="700"/>
          <ac:spMkLst>
            <pc:docMk/>
            <pc:sldMk cId="913701754" sldId="267"/>
            <ac:spMk id="3" creationId="{F0489790-85DE-90D4-1D37-BD7E88751938}"/>
          </ac:spMkLst>
        </pc:spChg>
        <pc:spChg chg="add del mod ord">
          <ac:chgData name="Luca Ricci" userId="ee5f09d5-0832-4e68-94c9-d8bfd2ad04f0" providerId="ADAL" clId="{4BC29580-8BCE-764B-9666-98CD2F633B19}" dt="2023-11-30T10:44:46.376" v="1" actId="700"/>
          <ac:spMkLst>
            <pc:docMk/>
            <pc:sldMk cId="913701754" sldId="267"/>
            <ac:spMk id="4" creationId="{B042F4BE-04E2-00F7-6B97-50BBE90586D2}"/>
          </ac:spMkLst>
        </pc:spChg>
        <pc:spChg chg="mod ord">
          <ac:chgData name="Luca Ricci" userId="ee5f09d5-0832-4e68-94c9-d8bfd2ad04f0" providerId="ADAL" clId="{4BC29580-8BCE-764B-9666-98CD2F633B19}" dt="2023-11-30T10:44:52.882" v="4" actId="700"/>
          <ac:spMkLst>
            <pc:docMk/>
            <pc:sldMk cId="913701754" sldId="267"/>
            <ac:spMk id="5" creationId="{E21AFF28-0883-405B-A8DD-D42393A233A2}"/>
          </ac:spMkLst>
        </pc:spChg>
        <pc:spChg chg="add del mod ord">
          <ac:chgData name="Luca Ricci" userId="ee5f09d5-0832-4e68-94c9-d8bfd2ad04f0" providerId="ADAL" clId="{4BC29580-8BCE-764B-9666-98CD2F633B19}" dt="2023-11-30T10:44:46.376" v="1" actId="700"/>
          <ac:spMkLst>
            <pc:docMk/>
            <pc:sldMk cId="913701754" sldId="267"/>
            <ac:spMk id="6" creationId="{A6D6E34A-1D08-A1DF-F495-14832730D313}"/>
          </ac:spMkLst>
        </pc:spChg>
        <pc:spChg chg="del mod ord">
          <ac:chgData name="Luca Ricci" userId="ee5f09d5-0832-4e68-94c9-d8bfd2ad04f0" providerId="ADAL" clId="{4BC29580-8BCE-764B-9666-98CD2F633B19}" dt="2023-11-30T10:44:42.097" v="0" actId="700"/>
          <ac:spMkLst>
            <pc:docMk/>
            <pc:sldMk cId="913701754" sldId="267"/>
            <ac:spMk id="7" creationId="{3FB1C68C-D054-4F8D-AA7A-F778CCFFFD34}"/>
          </ac:spMkLst>
        </pc:spChg>
        <pc:spChg chg="del mod ord">
          <ac:chgData name="Luca Ricci" userId="ee5f09d5-0832-4e68-94c9-d8bfd2ad04f0" providerId="ADAL" clId="{4BC29580-8BCE-764B-9666-98CD2F633B19}" dt="2023-11-30T10:44:42.097" v="0" actId="700"/>
          <ac:spMkLst>
            <pc:docMk/>
            <pc:sldMk cId="913701754" sldId="267"/>
            <ac:spMk id="8" creationId="{0FB27639-D1FE-4EB7-81D0-019FC186FBB5}"/>
          </ac:spMkLst>
        </pc:spChg>
        <pc:spChg chg="del mod ord">
          <ac:chgData name="Luca Ricci" userId="ee5f09d5-0832-4e68-94c9-d8bfd2ad04f0" providerId="ADAL" clId="{4BC29580-8BCE-764B-9666-98CD2F633B19}" dt="2023-11-30T10:44:42.097" v="0" actId="700"/>
          <ac:spMkLst>
            <pc:docMk/>
            <pc:sldMk cId="913701754" sldId="267"/>
            <ac:spMk id="9" creationId="{41589B28-D26E-44F4-8C62-FEE4AAED4A70}"/>
          </ac:spMkLst>
        </pc:spChg>
        <pc:spChg chg="add del mod ord">
          <ac:chgData name="Luca Ricci" userId="ee5f09d5-0832-4e68-94c9-d8bfd2ad04f0" providerId="ADAL" clId="{4BC29580-8BCE-764B-9666-98CD2F633B19}" dt="2023-11-30T10:44:46.376" v="1" actId="700"/>
          <ac:spMkLst>
            <pc:docMk/>
            <pc:sldMk cId="913701754" sldId="267"/>
            <ac:spMk id="10" creationId="{9A06F187-3954-B4FD-A2C1-A44BFFE72601}"/>
          </ac:spMkLst>
        </pc:spChg>
        <pc:spChg chg="add del mod ord">
          <ac:chgData name="Luca Ricci" userId="ee5f09d5-0832-4e68-94c9-d8bfd2ad04f0" providerId="ADAL" clId="{4BC29580-8BCE-764B-9666-98CD2F633B19}" dt="2023-11-30T10:44:48.907" v="2" actId="700"/>
          <ac:spMkLst>
            <pc:docMk/>
            <pc:sldMk cId="913701754" sldId="267"/>
            <ac:spMk id="11" creationId="{DDC54C76-4D3A-F6D8-A55C-0FC0B7A77781}"/>
          </ac:spMkLst>
        </pc:spChg>
        <pc:spChg chg="add del mod ord">
          <ac:chgData name="Luca Ricci" userId="ee5f09d5-0832-4e68-94c9-d8bfd2ad04f0" providerId="ADAL" clId="{4BC29580-8BCE-764B-9666-98CD2F633B19}" dt="2023-11-30T10:44:48.907" v="2" actId="700"/>
          <ac:spMkLst>
            <pc:docMk/>
            <pc:sldMk cId="913701754" sldId="267"/>
            <ac:spMk id="12" creationId="{A5BDB40A-E00F-9688-CAF6-8CEDA63FFEE1}"/>
          </ac:spMkLst>
        </pc:spChg>
        <pc:spChg chg="add del mod ord">
          <ac:chgData name="Luca Ricci" userId="ee5f09d5-0832-4e68-94c9-d8bfd2ad04f0" providerId="ADAL" clId="{4BC29580-8BCE-764B-9666-98CD2F633B19}" dt="2023-11-30T10:44:48.907" v="2" actId="700"/>
          <ac:spMkLst>
            <pc:docMk/>
            <pc:sldMk cId="913701754" sldId="267"/>
            <ac:spMk id="13" creationId="{CE906CD6-3ED6-6C02-19ED-D08668B42F7D}"/>
          </ac:spMkLst>
        </pc:spChg>
        <pc:spChg chg="add del mod ord">
          <ac:chgData name="Luca Ricci" userId="ee5f09d5-0832-4e68-94c9-d8bfd2ad04f0" providerId="ADAL" clId="{4BC29580-8BCE-764B-9666-98CD2F633B19}" dt="2023-11-30T10:44:48.907" v="2" actId="700"/>
          <ac:spMkLst>
            <pc:docMk/>
            <pc:sldMk cId="913701754" sldId="267"/>
            <ac:spMk id="14" creationId="{CC9AFD52-C010-2588-9E3E-0606516A5A14}"/>
          </ac:spMkLst>
        </pc:spChg>
        <pc:spChg chg="add del mod ord">
          <ac:chgData name="Luca Ricci" userId="ee5f09d5-0832-4e68-94c9-d8bfd2ad04f0" providerId="ADAL" clId="{4BC29580-8BCE-764B-9666-98CD2F633B19}" dt="2023-11-30T10:44:51.006" v="3" actId="700"/>
          <ac:spMkLst>
            <pc:docMk/>
            <pc:sldMk cId="913701754" sldId="267"/>
            <ac:spMk id="15" creationId="{4E491013-2FEC-14DA-B212-424476D1709B}"/>
          </ac:spMkLst>
        </pc:spChg>
        <pc:spChg chg="add del mod ord">
          <ac:chgData name="Luca Ricci" userId="ee5f09d5-0832-4e68-94c9-d8bfd2ad04f0" providerId="ADAL" clId="{4BC29580-8BCE-764B-9666-98CD2F633B19}" dt="2023-11-30T10:44:51.006" v="3" actId="700"/>
          <ac:spMkLst>
            <pc:docMk/>
            <pc:sldMk cId="913701754" sldId="267"/>
            <ac:spMk id="16" creationId="{B13B9A36-EC2D-C009-F787-9F5DB3D6CA3C}"/>
          </ac:spMkLst>
        </pc:spChg>
        <pc:spChg chg="add del mod ord">
          <ac:chgData name="Luca Ricci" userId="ee5f09d5-0832-4e68-94c9-d8bfd2ad04f0" providerId="ADAL" clId="{4BC29580-8BCE-764B-9666-98CD2F633B19}" dt="2023-11-30T10:44:51.006" v="3" actId="700"/>
          <ac:spMkLst>
            <pc:docMk/>
            <pc:sldMk cId="913701754" sldId="267"/>
            <ac:spMk id="17" creationId="{B2F25FE8-05DF-A25A-4149-EBE032F91139}"/>
          </ac:spMkLst>
        </pc:spChg>
        <pc:spChg chg="add del mod ord">
          <ac:chgData name="Luca Ricci" userId="ee5f09d5-0832-4e68-94c9-d8bfd2ad04f0" providerId="ADAL" clId="{4BC29580-8BCE-764B-9666-98CD2F633B19}" dt="2023-11-30T10:44:51.006" v="3" actId="700"/>
          <ac:spMkLst>
            <pc:docMk/>
            <pc:sldMk cId="913701754" sldId="267"/>
            <ac:spMk id="18" creationId="{CA89AA77-D038-C87D-712E-AC9610E883C5}"/>
          </ac:spMkLst>
        </pc:spChg>
        <pc:spChg chg="add del mod ord">
          <ac:chgData name="Luca Ricci" userId="ee5f09d5-0832-4e68-94c9-d8bfd2ad04f0" providerId="ADAL" clId="{4BC29580-8BCE-764B-9666-98CD2F633B19}" dt="2023-11-30T10:44:51.006" v="3" actId="700"/>
          <ac:spMkLst>
            <pc:docMk/>
            <pc:sldMk cId="913701754" sldId="267"/>
            <ac:spMk id="19" creationId="{C1CC7F20-3A1C-6012-6A69-8BAFB59FA3BE}"/>
          </ac:spMkLst>
        </pc:spChg>
        <pc:spChg chg="add mod ord">
          <ac:chgData name="Luca Ricci" userId="ee5f09d5-0832-4e68-94c9-d8bfd2ad04f0" providerId="ADAL" clId="{4BC29580-8BCE-764B-9666-98CD2F633B19}" dt="2023-11-30T10:44:52.882" v="4" actId="700"/>
          <ac:spMkLst>
            <pc:docMk/>
            <pc:sldMk cId="913701754" sldId="267"/>
            <ac:spMk id="20" creationId="{457D79A4-B774-F283-EF5E-EDFE0130FC03}"/>
          </ac:spMkLst>
        </pc:spChg>
        <pc:spChg chg="add mod ord">
          <ac:chgData name="Luca Ricci" userId="ee5f09d5-0832-4e68-94c9-d8bfd2ad04f0" providerId="ADAL" clId="{4BC29580-8BCE-764B-9666-98CD2F633B19}" dt="2023-11-30T10:44:52.882" v="4" actId="700"/>
          <ac:spMkLst>
            <pc:docMk/>
            <pc:sldMk cId="913701754" sldId="267"/>
            <ac:spMk id="21" creationId="{255F264B-E505-588A-9605-3C51E4AB1FAB}"/>
          </ac:spMkLst>
        </pc:spChg>
        <pc:spChg chg="add mod ord">
          <ac:chgData name="Luca Ricci" userId="ee5f09d5-0832-4e68-94c9-d8bfd2ad04f0" providerId="ADAL" clId="{4BC29580-8BCE-764B-9666-98CD2F633B19}" dt="2023-11-30T10:44:52.882" v="4" actId="700"/>
          <ac:spMkLst>
            <pc:docMk/>
            <pc:sldMk cId="913701754" sldId="267"/>
            <ac:spMk id="22" creationId="{7D01FEAD-26A1-B766-C97A-56B40A6FE3BC}"/>
          </ac:spMkLst>
        </pc:spChg>
        <pc:spChg chg="add mod ord">
          <ac:chgData name="Luca Ricci" userId="ee5f09d5-0832-4e68-94c9-d8bfd2ad04f0" providerId="ADAL" clId="{4BC29580-8BCE-764B-9666-98CD2F633B19}" dt="2023-11-30T10:44:52.882" v="4" actId="700"/>
          <ac:spMkLst>
            <pc:docMk/>
            <pc:sldMk cId="913701754" sldId="267"/>
            <ac:spMk id="23" creationId="{7671A821-5F86-8FC3-A75D-B9F48E99632D}"/>
          </ac:spMkLst>
        </pc:spChg>
      </pc:sldChg>
    </pc:docChg>
  </pc:docChgLst>
  <pc:docChgLst>
    <pc:chgData name="Gabriele Be'" userId="7bf626d5-9dae-4fe7-9b21-8b110831bcf6" providerId="ADAL" clId="{BB824434-7F60-644E-BC42-2955C272D2F9}"/>
    <pc:docChg chg="delSection">
      <pc:chgData name="Gabriele Be'" userId="7bf626d5-9dae-4fe7-9b21-8b110831bcf6" providerId="ADAL" clId="{BB824434-7F60-644E-BC42-2955C272D2F9}" dt="2024-01-26T08:33:35.805" v="0" actId="17853"/>
      <pc:docMkLst>
        <pc:docMk/>
      </pc:docMkLst>
    </pc:docChg>
  </pc:docChgLst>
  <pc:docChgLst>
    <pc:chgData name="Gabriele Zanoletti" userId="fc6666fa-3441-4ddc-a8b9-f69fbbdf5644" providerId="ADAL" clId="{F2571258-CC26-4B12-B833-E4A17A5DE9C1}"/>
    <pc:docChg chg="undo custSel addSld delSld modSld sldOrd">
      <pc:chgData name="Gabriele Zanoletti" userId="fc6666fa-3441-4ddc-a8b9-f69fbbdf5644" providerId="ADAL" clId="{F2571258-CC26-4B12-B833-E4A17A5DE9C1}" dt="2024-01-24T12:14:36.734" v="11101" actId="20577"/>
      <pc:docMkLst>
        <pc:docMk/>
      </pc:docMkLst>
      <pc:sldChg chg="ord">
        <pc:chgData name="Gabriele Zanoletti" userId="fc6666fa-3441-4ddc-a8b9-f69fbbdf5644" providerId="ADAL" clId="{F2571258-CC26-4B12-B833-E4A17A5DE9C1}" dt="2024-01-23T14:59:48.793" v="748"/>
        <pc:sldMkLst>
          <pc:docMk/>
          <pc:sldMk cId="895135860" sldId="257"/>
        </pc:sldMkLst>
      </pc:sldChg>
      <pc:sldChg chg="addSp delSp modSp mod">
        <pc:chgData name="Gabriele Zanoletti" userId="fc6666fa-3441-4ddc-a8b9-f69fbbdf5644" providerId="ADAL" clId="{F2571258-CC26-4B12-B833-E4A17A5DE9C1}" dt="2024-01-17T13:13:52.431" v="208" actId="478"/>
        <pc:sldMkLst>
          <pc:docMk/>
          <pc:sldMk cId="3601296254" sldId="258"/>
        </pc:sldMkLst>
        <pc:spChg chg="mod">
          <ac:chgData name="Gabriele Zanoletti" userId="fc6666fa-3441-4ddc-a8b9-f69fbbdf5644" providerId="ADAL" clId="{F2571258-CC26-4B12-B833-E4A17A5DE9C1}" dt="2024-01-15T14:06:41.836" v="197" actId="20577"/>
          <ac:spMkLst>
            <pc:docMk/>
            <pc:sldMk cId="3601296254" sldId="258"/>
            <ac:spMk id="4" creationId="{1AC29BDC-7CB8-266E-07CF-D9D5D9169AC3}"/>
          </ac:spMkLst>
        </pc:spChg>
        <pc:spChg chg="add del mod ord">
          <ac:chgData name="Gabriele Zanoletti" userId="fc6666fa-3441-4ddc-a8b9-f69fbbdf5644" providerId="ADAL" clId="{F2571258-CC26-4B12-B833-E4A17A5DE9C1}" dt="2024-01-17T13:13:52.431" v="208" actId="478"/>
          <ac:spMkLst>
            <pc:docMk/>
            <pc:sldMk cId="3601296254" sldId="258"/>
            <ac:spMk id="6" creationId="{42C53683-346D-C3FA-25DD-4C6FAAEA08EC}"/>
          </ac:spMkLst>
        </pc:spChg>
        <pc:picChg chg="add del mod">
          <ac:chgData name="Gabriele Zanoletti" userId="fc6666fa-3441-4ddc-a8b9-f69fbbdf5644" providerId="ADAL" clId="{F2571258-CC26-4B12-B833-E4A17A5DE9C1}" dt="2024-01-17T13:13:51.944" v="207" actId="478"/>
          <ac:picMkLst>
            <pc:docMk/>
            <pc:sldMk cId="3601296254" sldId="258"/>
            <ac:picMk id="5" creationId="{C5706363-1636-518E-BB85-E1A44A7D338D}"/>
          </ac:picMkLst>
        </pc:picChg>
      </pc:sldChg>
      <pc:sldChg chg="addSp delSp modSp del mod modClrScheme chgLayout">
        <pc:chgData name="Gabriele Zanoletti" userId="fc6666fa-3441-4ddc-a8b9-f69fbbdf5644" providerId="ADAL" clId="{F2571258-CC26-4B12-B833-E4A17A5DE9C1}" dt="2024-01-23T14:59:24.641" v="726" actId="47"/>
        <pc:sldMkLst>
          <pc:docMk/>
          <pc:sldMk cId="1625672892" sldId="259"/>
        </pc:sldMkLst>
        <pc:spChg chg="mod ord">
          <ac:chgData name="Gabriele Zanoletti" userId="fc6666fa-3441-4ddc-a8b9-f69fbbdf5644" providerId="ADAL" clId="{F2571258-CC26-4B12-B833-E4A17A5DE9C1}" dt="2024-01-23T13:20:02.969" v="214" actId="700"/>
          <ac:spMkLst>
            <pc:docMk/>
            <pc:sldMk cId="1625672892" sldId="259"/>
            <ac:spMk id="2" creationId="{96B142A3-3E18-4302-85FC-39EF0216B791}"/>
          </ac:spMkLst>
        </pc:spChg>
        <pc:spChg chg="add del mod">
          <ac:chgData name="Gabriele Zanoletti" userId="fc6666fa-3441-4ddc-a8b9-f69fbbdf5644" providerId="ADAL" clId="{F2571258-CC26-4B12-B833-E4A17A5DE9C1}" dt="2024-01-23T13:19:55.077" v="212" actId="6264"/>
          <ac:spMkLst>
            <pc:docMk/>
            <pc:sldMk cId="1625672892" sldId="259"/>
            <ac:spMk id="3" creationId="{F1D2BAC8-AE0D-8A57-E287-FCB315CAB047}"/>
          </ac:spMkLst>
        </pc:spChg>
        <pc:spChg chg="add del mod">
          <ac:chgData name="Gabriele Zanoletti" userId="fc6666fa-3441-4ddc-a8b9-f69fbbdf5644" providerId="ADAL" clId="{F2571258-CC26-4B12-B833-E4A17A5DE9C1}" dt="2024-01-23T13:19:55.077" v="212" actId="6264"/>
          <ac:spMkLst>
            <pc:docMk/>
            <pc:sldMk cId="1625672892" sldId="259"/>
            <ac:spMk id="4" creationId="{A0D18D2A-C1DD-DA0F-564E-F8804357133C}"/>
          </ac:spMkLst>
        </pc:spChg>
        <pc:spChg chg="add del mod">
          <ac:chgData name="Gabriele Zanoletti" userId="fc6666fa-3441-4ddc-a8b9-f69fbbdf5644" providerId="ADAL" clId="{F2571258-CC26-4B12-B833-E4A17A5DE9C1}" dt="2024-01-23T13:19:55.077" v="212" actId="6264"/>
          <ac:spMkLst>
            <pc:docMk/>
            <pc:sldMk cId="1625672892" sldId="259"/>
            <ac:spMk id="5" creationId="{69963E77-9A2A-98FB-FC0D-E903087FC6E8}"/>
          </ac:spMkLst>
        </pc:spChg>
        <pc:spChg chg="add del mod ord">
          <ac:chgData name="Gabriele Zanoletti" userId="fc6666fa-3441-4ddc-a8b9-f69fbbdf5644" providerId="ADAL" clId="{F2571258-CC26-4B12-B833-E4A17A5DE9C1}" dt="2024-01-23T13:20:02.969" v="214" actId="700"/>
          <ac:spMkLst>
            <pc:docMk/>
            <pc:sldMk cId="1625672892" sldId="259"/>
            <ac:spMk id="6" creationId="{D8967F99-6DEC-9996-DC6B-18094388496D}"/>
          </ac:spMkLst>
        </pc:spChg>
        <pc:spChg chg="add del mod ord">
          <ac:chgData name="Gabriele Zanoletti" userId="fc6666fa-3441-4ddc-a8b9-f69fbbdf5644" providerId="ADAL" clId="{F2571258-CC26-4B12-B833-E4A17A5DE9C1}" dt="2024-01-23T13:20:02.969" v="214" actId="700"/>
          <ac:spMkLst>
            <pc:docMk/>
            <pc:sldMk cId="1625672892" sldId="259"/>
            <ac:spMk id="7" creationId="{0E69FE2D-190B-9CC7-715B-C4F1131F57FD}"/>
          </ac:spMkLst>
        </pc:spChg>
        <pc:spChg chg="mod ord">
          <ac:chgData name="Gabriele Zanoletti" userId="fc6666fa-3441-4ddc-a8b9-f69fbbdf5644" providerId="ADAL" clId="{F2571258-CC26-4B12-B833-E4A17A5DE9C1}" dt="2024-01-23T13:20:02.969" v="214" actId="700"/>
          <ac:spMkLst>
            <pc:docMk/>
            <pc:sldMk cId="1625672892" sldId="259"/>
            <ac:spMk id="10" creationId="{5A82A501-62D7-BA88-FCEA-42DF25F31526}"/>
          </ac:spMkLst>
        </pc:spChg>
        <pc:picChg chg="mod ord">
          <ac:chgData name="Gabriele Zanoletti" userId="fc6666fa-3441-4ddc-a8b9-f69fbbdf5644" providerId="ADAL" clId="{F2571258-CC26-4B12-B833-E4A17A5DE9C1}" dt="2024-01-23T13:20:02.969" v="214" actId="700"/>
          <ac:picMkLst>
            <pc:docMk/>
            <pc:sldMk cId="1625672892" sldId="259"/>
            <ac:picMk id="16" creationId="{69C012A2-2CBB-CC32-EDF2-0B6DFA6D9245}"/>
          </ac:picMkLst>
        </pc:picChg>
      </pc:sldChg>
      <pc:sldChg chg="modSp mod">
        <pc:chgData name="Gabriele Zanoletti" userId="fc6666fa-3441-4ddc-a8b9-f69fbbdf5644" providerId="ADAL" clId="{F2571258-CC26-4B12-B833-E4A17A5DE9C1}" dt="2024-01-15T14:05:10.104" v="53" actId="20577"/>
        <pc:sldMkLst>
          <pc:docMk/>
          <pc:sldMk cId="913701754" sldId="267"/>
        </pc:sldMkLst>
        <pc:spChg chg="mod">
          <ac:chgData name="Gabriele Zanoletti" userId="fc6666fa-3441-4ddc-a8b9-f69fbbdf5644" providerId="ADAL" clId="{F2571258-CC26-4B12-B833-E4A17A5DE9C1}" dt="2024-01-15T14:02:44.098" v="4" actId="27636"/>
          <ac:spMkLst>
            <pc:docMk/>
            <pc:sldMk cId="913701754" sldId="267"/>
            <ac:spMk id="2" creationId="{B40086CB-E149-4C33-F1BF-6132B0867F59}"/>
          </ac:spMkLst>
        </pc:spChg>
        <pc:spChg chg="mod">
          <ac:chgData name="Gabriele Zanoletti" userId="fc6666fa-3441-4ddc-a8b9-f69fbbdf5644" providerId="ADAL" clId="{F2571258-CC26-4B12-B833-E4A17A5DE9C1}" dt="2024-01-15T14:05:10.104" v="53" actId="20577"/>
          <ac:spMkLst>
            <pc:docMk/>
            <pc:sldMk cId="913701754" sldId="267"/>
            <ac:spMk id="3" creationId="{8D39D37D-9355-8216-502B-248CE6B8D7D6}"/>
          </ac:spMkLst>
        </pc:spChg>
      </pc:sldChg>
      <pc:sldChg chg="del">
        <pc:chgData name="Gabriele Zanoletti" userId="fc6666fa-3441-4ddc-a8b9-f69fbbdf5644" providerId="ADAL" clId="{F2571258-CC26-4B12-B833-E4A17A5DE9C1}" dt="2024-01-23T14:59:32.074" v="739" actId="47"/>
        <pc:sldMkLst>
          <pc:docMk/>
          <pc:sldMk cId="3141277617" sldId="270"/>
        </pc:sldMkLst>
      </pc:sldChg>
      <pc:sldChg chg="del">
        <pc:chgData name="Gabriele Zanoletti" userId="fc6666fa-3441-4ddc-a8b9-f69fbbdf5644" providerId="ADAL" clId="{F2571258-CC26-4B12-B833-E4A17A5DE9C1}" dt="2024-01-23T14:59:25.018" v="727" actId="47"/>
        <pc:sldMkLst>
          <pc:docMk/>
          <pc:sldMk cId="1589680712" sldId="271"/>
        </pc:sldMkLst>
      </pc:sldChg>
      <pc:sldChg chg="del">
        <pc:chgData name="Gabriele Zanoletti" userId="fc6666fa-3441-4ddc-a8b9-f69fbbdf5644" providerId="ADAL" clId="{F2571258-CC26-4B12-B833-E4A17A5DE9C1}" dt="2024-01-23T14:59:25.348" v="728" actId="47"/>
        <pc:sldMkLst>
          <pc:docMk/>
          <pc:sldMk cId="2779813759" sldId="272"/>
        </pc:sldMkLst>
      </pc:sldChg>
      <pc:sldChg chg="del">
        <pc:chgData name="Gabriele Zanoletti" userId="fc6666fa-3441-4ddc-a8b9-f69fbbdf5644" providerId="ADAL" clId="{F2571258-CC26-4B12-B833-E4A17A5DE9C1}" dt="2024-01-23T14:59:25.757" v="729" actId="47"/>
        <pc:sldMkLst>
          <pc:docMk/>
          <pc:sldMk cId="1135736597" sldId="273"/>
        </pc:sldMkLst>
      </pc:sldChg>
      <pc:sldChg chg="del">
        <pc:chgData name="Gabriele Zanoletti" userId="fc6666fa-3441-4ddc-a8b9-f69fbbdf5644" providerId="ADAL" clId="{F2571258-CC26-4B12-B833-E4A17A5DE9C1}" dt="2024-01-23T14:59:33.832" v="740" actId="47"/>
        <pc:sldMkLst>
          <pc:docMk/>
          <pc:sldMk cId="2968188460" sldId="274"/>
        </pc:sldMkLst>
      </pc:sldChg>
      <pc:sldChg chg="addSp delSp modSp del mod chgLayout">
        <pc:chgData name="Gabriele Zanoletti" userId="fc6666fa-3441-4ddc-a8b9-f69fbbdf5644" providerId="ADAL" clId="{F2571258-CC26-4B12-B833-E4A17A5DE9C1}" dt="2024-01-23T14:59:23.744" v="724" actId="47"/>
        <pc:sldMkLst>
          <pc:docMk/>
          <pc:sldMk cId="2990945037" sldId="276"/>
        </pc:sldMkLst>
        <pc:spChg chg="mod ord">
          <ac:chgData name="Gabriele Zanoletti" userId="fc6666fa-3441-4ddc-a8b9-f69fbbdf5644" providerId="ADAL" clId="{F2571258-CC26-4B12-B833-E4A17A5DE9C1}" dt="2024-01-23T13:19:49.465" v="210" actId="6264"/>
          <ac:spMkLst>
            <pc:docMk/>
            <pc:sldMk cId="2990945037" sldId="276"/>
            <ac:spMk id="2" creationId="{EE1181EE-E83B-E2B4-A8A2-9BD79BA62577}"/>
          </ac:spMkLst>
        </pc:spChg>
        <pc:spChg chg="mod ord">
          <ac:chgData name="Gabriele Zanoletti" userId="fc6666fa-3441-4ddc-a8b9-f69fbbdf5644" providerId="ADAL" clId="{F2571258-CC26-4B12-B833-E4A17A5DE9C1}" dt="2024-01-23T13:19:49.465" v="210" actId="6264"/>
          <ac:spMkLst>
            <pc:docMk/>
            <pc:sldMk cId="2990945037" sldId="276"/>
            <ac:spMk id="3" creationId="{07C4FEEC-C7A9-340B-8522-6845D3F4141D}"/>
          </ac:spMkLst>
        </pc:spChg>
        <pc:spChg chg="mod ord">
          <ac:chgData name="Gabriele Zanoletti" userId="fc6666fa-3441-4ddc-a8b9-f69fbbdf5644" providerId="ADAL" clId="{F2571258-CC26-4B12-B833-E4A17A5DE9C1}" dt="2024-01-23T13:19:49.465" v="210" actId="6264"/>
          <ac:spMkLst>
            <pc:docMk/>
            <pc:sldMk cId="2990945037" sldId="276"/>
            <ac:spMk id="4" creationId="{E5A0E81E-6D21-B61E-5631-2BEC2A222BBF}"/>
          </ac:spMkLst>
        </pc:spChg>
        <pc:spChg chg="mod ord">
          <ac:chgData name="Gabriele Zanoletti" userId="fc6666fa-3441-4ddc-a8b9-f69fbbdf5644" providerId="ADAL" clId="{F2571258-CC26-4B12-B833-E4A17A5DE9C1}" dt="2024-01-23T13:19:49.465" v="210" actId="6264"/>
          <ac:spMkLst>
            <pc:docMk/>
            <pc:sldMk cId="2990945037" sldId="276"/>
            <ac:spMk id="5" creationId="{135546F5-012E-B2E0-37D5-9122D8A67012}"/>
          </ac:spMkLst>
        </pc:spChg>
        <pc:spChg chg="add del mod">
          <ac:chgData name="Gabriele Zanoletti" userId="fc6666fa-3441-4ddc-a8b9-f69fbbdf5644" providerId="ADAL" clId="{F2571258-CC26-4B12-B833-E4A17A5DE9C1}" dt="2024-01-23T13:19:49.465" v="210" actId="6264"/>
          <ac:spMkLst>
            <pc:docMk/>
            <pc:sldMk cId="2990945037" sldId="276"/>
            <ac:spMk id="6" creationId="{00C0F838-FC25-4449-7965-8E8D4F4E98A1}"/>
          </ac:spMkLst>
        </pc:spChg>
        <pc:spChg chg="add del mod">
          <ac:chgData name="Gabriele Zanoletti" userId="fc6666fa-3441-4ddc-a8b9-f69fbbdf5644" providerId="ADAL" clId="{F2571258-CC26-4B12-B833-E4A17A5DE9C1}" dt="2024-01-23T13:19:49.465" v="210" actId="6264"/>
          <ac:spMkLst>
            <pc:docMk/>
            <pc:sldMk cId="2990945037" sldId="276"/>
            <ac:spMk id="7" creationId="{44615AB5-D69C-752C-C63F-E3BE1B308AF2}"/>
          </ac:spMkLst>
        </pc:spChg>
        <pc:spChg chg="add del mod">
          <ac:chgData name="Gabriele Zanoletti" userId="fc6666fa-3441-4ddc-a8b9-f69fbbdf5644" providerId="ADAL" clId="{F2571258-CC26-4B12-B833-E4A17A5DE9C1}" dt="2024-01-23T13:19:49.465" v="210" actId="6264"/>
          <ac:spMkLst>
            <pc:docMk/>
            <pc:sldMk cId="2990945037" sldId="276"/>
            <ac:spMk id="10" creationId="{C0DC1E7A-11AE-3B64-5A93-BD504C1504C3}"/>
          </ac:spMkLst>
        </pc:spChg>
        <pc:spChg chg="add del mod">
          <ac:chgData name="Gabriele Zanoletti" userId="fc6666fa-3441-4ddc-a8b9-f69fbbdf5644" providerId="ADAL" clId="{F2571258-CC26-4B12-B833-E4A17A5DE9C1}" dt="2024-01-23T13:19:49.465" v="210" actId="6264"/>
          <ac:spMkLst>
            <pc:docMk/>
            <pc:sldMk cId="2990945037" sldId="276"/>
            <ac:spMk id="11" creationId="{A0503497-A008-0418-0450-3B80952C3726}"/>
          </ac:spMkLst>
        </pc:spChg>
        <pc:spChg chg="add del mod">
          <ac:chgData name="Gabriele Zanoletti" userId="fc6666fa-3441-4ddc-a8b9-f69fbbdf5644" providerId="ADAL" clId="{F2571258-CC26-4B12-B833-E4A17A5DE9C1}" dt="2024-01-23T13:19:49.465" v="210" actId="6264"/>
          <ac:spMkLst>
            <pc:docMk/>
            <pc:sldMk cId="2990945037" sldId="276"/>
            <ac:spMk id="12" creationId="{FBBECACD-0F3A-3DE3-3D9A-8E769EC7F843}"/>
          </ac:spMkLst>
        </pc:spChg>
        <pc:picChg chg="mod ord">
          <ac:chgData name="Gabriele Zanoletti" userId="fc6666fa-3441-4ddc-a8b9-f69fbbdf5644" providerId="ADAL" clId="{F2571258-CC26-4B12-B833-E4A17A5DE9C1}" dt="2024-01-23T13:19:49.465" v="210" actId="6264"/>
          <ac:picMkLst>
            <pc:docMk/>
            <pc:sldMk cId="2990945037" sldId="276"/>
            <ac:picMk id="8" creationId="{8B5AF5C9-B484-5967-A46F-F80097891166}"/>
          </ac:picMkLst>
        </pc:picChg>
      </pc:sldChg>
      <pc:sldChg chg="del">
        <pc:chgData name="Gabriele Zanoletti" userId="fc6666fa-3441-4ddc-a8b9-f69fbbdf5644" providerId="ADAL" clId="{F2571258-CC26-4B12-B833-E4A17A5DE9C1}" dt="2024-01-23T14:59:24.169" v="725" actId="47"/>
        <pc:sldMkLst>
          <pc:docMk/>
          <pc:sldMk cId="4189800304" sldId="278"/>
        </pc:sldMkLst>
      </pc:sldChg>
      <pc:sldChg chg="del">
        <pc:chgData name="Gabriele Zanoletti" userId="fc6666fa-3441-4ddc-a8b9-f69fbbdf5644" providerId="ADAL" clId="{F2571258-CC26-4B12-B833-E4A17A5DE9C1}" dt="2024-01-23T14:59:26.087" v="730" actId="47"/>
        <pc:sldMkLst>
          <pc:docMk/>
          <pc:sldMk cId="304618885" sldId="279"/>
        </pc:sldMkLst>
      </pc:sldChg>
      <pc:sldChg chg="del">
        <pc:chgData name="Gabriele Zanoletti" userId="fc6666fa-3441-4ddc-a8b9-f69fbbdf5644" providerId="ADAL" clId="{F2571258-CC26-4B12-B833-E4A17A5DE9C1}" dt="2024-01-23T14:59:31.477" v="738" actId="47"/>
        <pc:sldMkLst>
          <pc:docMk/>
          <pc:sldMk cId="3605496133" sldId="280"/>
        </pc:sldMkLst>
      </pc:sldChg>
      <pc:sldChg chg="del">
        <pc:chgData name="Gabriele Zanoletti" userId="fc6666fa-3441-4ddc-a8b9-f69fbbdf5644" providerId="ADAL" clId="{F2571258-CC26-4B12-B833-E4A17A5DE9C1}" dt="2024-01-23T14:59:22.266" v="723" actId="47"/>
        <pc:sldMkLst>
          <pc:docMk/>
          <pc:sldMk cId="335704528" sldId="281"/>
        </pc:sldMkLst>
      </pc:sldChg>
      <pc:sldChg chg="del">
        <pc:chgData name="Gabriele Zanoletti" userId="fc6666fa-3441-4ddc-a8b9-f69fbbdf5644" providerId="ADAL" clId="{F2571258-CC26-4B12-B833-E4A17A5DE9C1}" dt="2024-01-23T14:59:30.708" v="737" actId="47"/>
        <pc:sldMkLst>
          <pc:docMk/>
          <pc:sldMk cId="2523226674" sldId="282"/>
        </pc:sldMkLst>
      </pc:sldChg>
      <pc:sldChg chg="del">
        <pc:chgData name="Gabriele Zanoletti" userId="fc6666fa-3441-4ddc-a8b9-f69fbbdf5644" providerId="ADAL" clId="{F2571258-CC26-4B12-B833-E4A17A5DE9C1}" dt="2024-01-23T14:59:28.491" v="732" actId="47"/>
        <pc:sldMkLst>
          <pc:docMk/>
          <pc:sldMk cId="2709073556" sldId="283"/>
        </pc:sldMkLst>
      </pc:sldChg>
      <pc:sldChg chg="del">
        <pc:chgData name="Gabriele Zanoletti" userId="fc6666fa-3441-4ddc-a8b9-f69fbbdf5644" providerId="ADAL" clId="{F2571258-CC26-4B12-B833-E4A17A5DE9C1}" dt="2024-01-23T14:59:30.017" v="735" actId="47"/>
        <pc:sldMkLst>
          <pc:docMk/>
          <pc:sldMk cId="3067180519" sldId="284"/>
        </pc:sldMkLst>
      </pc:sldChg>
      <pc:sldChg chg="del">
        <pc:chgData name="Gabriele Zanoletti" userId="fc6666fa-3441-4ddc-a8b9-f69fbbdf5644" providerId="ADAL" clId="{F2571258-CC26-4B12-B833-E4A17A5DE9C1}" dt="2024-01-23T14:59:30.331" v="736" actId="47"/>
        <pc:sldMkLst>
          <pc:docMk/>
          <pc:sldMk cId="4096381590" sldId="285"/>
        </pc:sldMkLst>
      </pc:sldChg>
      <pc:sldChg chg="del">
        <pc:chgData name="Gabriele Zanoletti" userId="fc6666fa-3441-4ddc-a8b9-f69fbbdf5644" providerId="ADAL" clId="{F2571258-CC26-4B12-B833-E4A17A5DE9C1}" dt="2024-01-23T14:59:29.308" v="733" actId="47"/>
        <pc:sldMkLst>
          <pc:docMk/>
          <pc:sldMk cId="4187071354" sldId="287"/>
        </pc:sldMkLst>
      </pc:sldChg>
      <pc:sldChg chg="del">
        <pc:chgData name="Gabriele Zanoletti" userId="fc6666fa-3441-4ddc-a8b9-f69fbbdf5644" providerId="ADAL" clId="{F2571258-CC26-4B12-B833-E4A17A5DE9C1}" dt="2024-01-23T14:59:29.435" v="734" actId="47"/>
        <pc:sldMkLst>
          <pc:docMk/>
          <pc:sldMk cId="1947591369" sldId="288"/>
        </pc:sldMkLst>
      </pc:sldChg>
      <pc:sldChg chg="del">
        <pc:chgData name="Gabriele Zanoletti" userId="fc6666fa-3441-4ddc-a8b9-f69fbbdf5644" providerId="ADAL" clId="{F2571258-CC26-4B12-B833-E4A17A5DE9C1}" dt="2024-01-23T14:59:27.346" v="731" actId="47"/>
        <pc:sldMkLst>
          <pc:docMk/>
          <pc:sldMk cId="1323570930" sldId="289"/>
        </pc:sldMkLst>
      </pc:sldChg>
      <pc:sldChg chg="del">
        <pc:chgData name="Gabriele Zanoletti" userId="fc6666fa-3441-4ddc-a8b9-f69fbbdf5644" providerId="ADAL" clId="{F2571258-CC26-4B12-B833-E4A17A5DE9C1}" dt="2024-01-23T14:59:54.109" v="749" actId="47"/>
        <pc:sldMkLst>
          <pc:docMk/>
          <pc:sldMk cId="102636184" sldId="290"/>
        </pc:sldMkLst>
      </pc:sldChg>
      <pc:sldChg chg="addSp delSp modSp new mod">
        <pc:chgData name="Gabriele Zanoletti" userId="fc6666fa-3441-4ddc-a8b9-f69fbbdf5644" providerId="ADAL" clId="{F2571258-CC26-4B12-B833-E4A17A5DE9C1}" dt="2024-01-24T07:58:16.802" v="3151" actId="20577"/>
        <pc:sldMkLst>
          <pc:docMk/>
          <pc:sldMk cId="994454846" sldId="291"/>
        </pc:sldMkLst>
        <pc:spChg chg="mod">
          <ac:chgData name="Gabriele Zanoletti" userId="fc6666fa-3441-4ddc-a8b9-f69fbbdf5644" providerId="ADAL" clId="{F2571258-CC26-4B12-B833-E4A17A5DE9C1}" dt="2024-01-23T15:02:26.341" v="843" actId="20577"/>
          <ac:spMkLst>
            <pc:docMk/>
            <pc:sldMk cId="994454846" sldId="291"/>
            <ac:spMk id="2" creationId="{51BBF078-C8A6-B19B-5A86-1388E178168E}"/>
          </ac:spMkLst>
        </pc:spChg>
        <pc:spChg chg="add mod">
          <ac:chgData name="Gabriele Zanoletti" userId="fc6666fa-3441-4ddc-a8b9-f69fbbdf5644" providerId="ADAL" clId="{F2571258-CC26-4B12-B833-E4A17A5DE9C1}" dt="2024-01-24T07:58:16.802" v="3151" actId="20577"/>
          <ac:spMkLst>
            <pc:docMk/>
            <pc:sldMk cId="994454846" sldId="291"/>
            <ac:spMk id="9" creationId="{384C8E91-B72A-D715-878D-3115E7D21AE9}"/>
          </ac:spMkLst>
        </pc:spChg>
        <pc:picChg chg="add del mod">
          <ac:chgData name="Gabriele Zanoletti" userId="fc6666fa-3441-4ddc-a8b9-f69fbbdf5644" providerId="ADAL" clId="{F2571258-CC26-4B12-B833-E4A17A5DE9C1}" dt="2024-01-23T13:21:11.644" v="221" actId="478"/>
          <ac:picMkLst>
            <pc:docMk/>
            <pc:sldMk cId="994454846" sldId="291"/>
            <ac:picMk id="6" creationId="{ADB86BC4-626F-4932-295C-10AFE6FFDA36}"/>
          </ac:picMkLst>
        </pc:picChg>
        <pc:picChg chg="add mod">
          <ac:chgData name="Gabriele Zanoletti" userId="fc6666fa-3441-4ddc-a8b9-f69fbbdf5644" providerId="ADAL" clId="{F2571258-CC26-4B12-B833-E4A17A5DE9C1}" dt="2024-01-23T13:24:37.088" v="228" actId="1076"/>
          <ac:picMkLst>
            <pc:docMk/>
            <pc:sldMk cId="994454846" sldId="291"/>
            <ac:picMk id="8" creationId="{7979D102-15DF-A596-B76A-2A979867BF3B}"/>
          </ac:picMkLst>
        </pc:picChg>
      </pc:sldChg>
      <pc:sldChg chg="new del">
        <pc:chgData name="Gabriele Zanoletti" userId="fc6666fa-3441-4ddc-a8b9-f69fbbdf5644" providerId="ADAL" clId="{F2571258-CC26-4B12-B833-E4A17A5DE9C1}" dt="2024-01-23T13:20:55.594" v="216" actId="47"/>
        <pc:sldMkLst>
          <pc:docMk/>
          <pc:sldMk cId="2908727478" sldId="291"/>
        </pc:sldMkLst>
      </pc:sldChg>
      <pc:sldChg chg="new del">
        <pc:chgData name="Gabriele Zanoletti" userId="fc6666fa-3441-4ddc-a8b9-f69fbbdf5644" providerId="ADAL" clId="{F2571258-CC26-4B12-B833-E4A17A5DE9C1}" dt="2024-01-23T13:26:15.867" v="260" actId="47"/>
        <pc:sldMkLst>
          <pc:docMk/>
          <pc:sldMk cId="763350070" sldId="292"/>
        </pc:sldMkLst>
      </pc:sldChg>
      <pc:sldChg chg="modSp add del mod">
        <pc:chgData name="Gabriele Zanoletti" userId="fc6666fa-3441-4ddc-a8b9-f69fbbdf5644" providerId="ADAL" clId="{F2571258-CC26-4B12-B833-E4A17A5DE9C1}" dt="2024-01-23T13:26:39.494" v="264"/>
        <pc:sldMkLst>
          <pc:docMk/>
          <pc:sldMk cId="2789190832" sldId="292"/>
        </pc:sldMkLst>
        <pc:spChg chg="mod">
          <ac:chgData name="Gabriele Zanoletti" userId="fc6666fa-3441-4ddc-a8b9-f69fbbdf5644" providerId="ADAL" clId="{F2571258-CC26-4B12-B833-E4A17A5DE9C1}" dt="2024-01-23T13:26:38.803" v="263" actId="20577"/>
          <ac:spMkLst>
            <pc:docMk/>
            <pc:sldMk cId="2789190832" sldId="292"/>
            <ac:spMk id="2" creationId="{51BBF078-C8A6-B19B-5A86-1388E178168E}"/>
          </ac:spMkLst>
        </pc:spChg>
      </pc:sldChg>
      <pc:sldChg chg="addSp delSp modSp add mod">
        <pc:chgData name="Gabriele Zanoletti" userId="fc6666fa-3441-4ddc-a8b9-f69fbbdf5644" providerId="ADAL" clId="{F2571258-CC26-4B12-B833-E4A17A5DE9C1}" dt="2024-01-24T07:58:41.593" v="3158" actId="20577"/>
        <pc:sldMkLst>
          <pc:docMk/>
          <pc:sldMk cId="3241623441" sldId="292"/>
        </pc:sldMkLst>
        <pc:spChg chg="mod">
          <ac:chgData name="Gabriele Zanoletti" userId="fc6666fa-3441-4ddc-a8b9-f69fbbdf5644" providerId="ADAL" clId="{F2571258-CC26-4B12-B833-E4A17A5DE9C1}" dt="2024-01-23T15:01:12.101" v="803" actId="21"/>
          <ac:spMkLst>
            <pc:docMk/>
            <pc:sldMk cId="3241623441" sldId="292"/>
            <ac:spMk id="2" creationId="{51BBF078-C8A6-B19B-5A86-1388E178168E}"/>
          </ac:spMkLst>
        </pc:spChg>
        <pc:spChg chg="mod">
          <ac:chgData name="Gabriele Zanoletti" userId="fc6666fa-3441-4ddc-a8b9-f69fbbdf5644" providerId="ADAL" clId="{F2571258-CC26-4B12-B833-E4A17A5DE9C1}" dt="2024-01-24T07:58:41.593" v="3158" actId="20577"/>
          <ac:spMkLst>
            <pc:docMk/>
            <pc:sldMk cId="3241623441" sldId="292"/>
            <ac:spMk id="9" creationId="{384C8E91-B72A-D715-878D-3115E7D21AE9}"/>
          </ac:spMkLst>
        </pc:spChg>
        <pc:picChg chg="add mod">
          <ac:chgData name="Gabriele Zanoletti" userId="fc6666fa-3441-4ddc-a8b9-f69fbbdf5644" providerId="ADAL" clId="{F2571258-CC26-4B12-B833-E4A17A5DE9C1}" dt="2024-01-23T15:38:09.354" v="2376" actId="14100"/>
          <ac:picMkLst>
            <pc:docMk/>
            <pc:sldMk cId="3241623441" sldId="292"/>
            <ac:picMk id="6" creationId="{16354C2A-E074-390B-33AD-86D85A2DB81F}"/>
          </ac:picMkLst>
        </pc:picChg>
        <pc:picChg chg="del">
          <ac:chgData name="Gabriele Zanoletti" userId="fc6666fa-3441-4ddc-a8b9-f69fbbdf5644" providerId="ADAL" clId="{F2571258-CC26-4B12-B833-E4A17A5DE9C1}" dt="2024-01-23T13:26:44.023" v="266" actId="478"/>
          <ac:picMkLst>
            <pc:docMk/>
            <pc:sldMk cId="3241623441" sldId="292"/>
            <ac:picMk id="8" creationId="{7979D102-15DF-A596-B76A-2A979867BF3B}"/>
          </ac:picMkLst>
        </pc:picChg>
        <pc:picChg chg="add mod">
          <ac:chgData name="Gabriele Zanoletti" userId="fc6666fa-3441-4ddc-a8b9-f69fbbdf5644" providerId="ADAL" clId="{F2571258-CC26-4B12-B833-E4A17A5DE9C1}" dt="2024-01-23T15:38:09.354" v="2376" actId="14100"/>
          <ac:picMkLst>
            <pc:docMk/>
            <pc:sldMk cId="3241623441" sldId="292"/>
            <ac:picMk id="10" creationId="{D56DD99C-2B50-6333-E5D0-1ED41F398F93}"/>
          </ac:picMkLst>
        </pc:picChg>
      </pc:sldChg>
      <pc:sldChg chg="addSp delSp modSp add mod">
        <pc:chgData name="Gabriele Zanoletti" userId="fc6666fa-3441-4ddc-a8b9-f69fbbdf5644" providerId="ADAL" clId="{F2571258-CC26-4B12-B833-E4A17A5DE9C1}" dt="2024-01-24T08:00:11.454" v="3159" actId="20577"/>
        <pc:sldMkLst>
          <pc:docMk/>
          <pc:sldMk cId="692283471" sldId="293"/>
        </pc:sldMkLst>
        <pc:spChg chg="mod">
          <ac:chgData name="Gabriele Zanoletti" userId="fc6666fa-3441-4ddc-a8b9-f69fbbdf5644" providerId="ADAL" clId="{F2571258-CC26-4B12-B833-E4A17A5DE9C1}" dt="2024-01-23T15:02:00.085" v="826" actId="20577"/>
          <ac:spMkLst>
            <pc:docMk/>
            <pc:sldMk cId="692283471" sldId="293"/>
            <ac:spMk id="2" creationId="{51BBF078-C8A6-B19B-5A86-1388E178168E}"/>
          </ac:spMkLst>
        </pc:spChg>
        <pc:spChg chg="mod">
          <ac:chgData name="Gabriele Zanoletti" userId="fc6666fa-3441-4ddc-a8b9-f69fbbdf5644" providerId="ADAL" clId="{F2571258-CC26-4B12-B833-E4A17A5DE9C1}" dt="2024-01-24T08:00:11.454" v="3159" actId="20577"/>
          <ac:spMkLst>
            <pc:docMk/>
            <pc:sldMk cId="692283471" sldId="293"/>
            <ac:spMk id="9" creationId="{384C8E91-B72A-D715-878D-3115E7D21AE9}"/>
          </ac:spMkLst>
        </pc:spChg>
        <pc:picChg chg="del">
          <ac:chgData name="Gabriele Zanoletti" userId="fc6666fa-3441-4ddc-a8b9-f69fbbdf5644" providerId="ADAL" clId="{F2571258-CC26-4B12-B833-E4A17A5DE9C1}" dt="2024-01-23T13:28:02.003" v="283" actId="478"/>
          <ac:picMkLst>
            <pc:docMk/>
            <pc:sldMk cId="692283471" sldId="293"/>
            <ac:picMk id="6" creationId="{16354C2A-E074-390B-33AD-86D85A2DB81F}"/>
          </ac:picMkLst>
        </pc:picChg>
        <pc:picChg chg="add del mod">
          <ac:chgData name="Gabriele Zanoletti" userId="fc6666fa-3441-4ddc-a8b9-f69fbbdf5644" providerId="ADAL" clId="{F2571258-CC26-4B12-B833-E4A17A5DE9C1}" dt="2024-01-23T13:28:12.673" v="288" actId="478"/>
          <ac:picMkLst>
            <pc:docMk/>
            <pc:sldMk cId="692283471" sldId="293"/>
            <ac:picMk id="7" creationId="{ED27DF90-4BE1-942C-67EE-62162A7710F5}"/>
          </ac:picMkLst>
        </pc:picChg>
        <pc:picChg chg="del">
          <ac:chgData name="Gabriele Zanoletti" userId="fc6666fa-3441-4ddc-a8b9-f69fbbdf5644" providerId="ADAL" clId="{F2571258-CC26-4B12-B833-E4A17A5DE9C1}" dt="2024-01-23T13:28:02.539" v="284" actId="478"/>
          <ac:picMkLst>
            <pc:docMk/>
            <pc:sldMk cId="692283471" sldId="293"/>
            <ac:picMk id="10" creationId="{D56DD99C-2B50-6333-E5D0-1ED41F398F93}"/>
          </ac:picMkLst>
        </pc:picChg>
        <pc:picChg chg="add del mod">
          <ac:chgData name="Gabriele Zanoletti" userId="fc6666fa-3441-4ddc-a8b9-f69fbbdf5644" providerId="ADAL" clId="{F2571258-CC26-4B12-B833-E4A17A5DE9C1}" dt="2024-01-23T13:28:11.718" v="287" actId="478"/>
          <ac:picMkLst>
            <pc:docMk/>
            <pc:sldMk cId="692283471" sldId="293"/>
            <ac:picMk id="11" creationId="{B33AD786-FA8B-8FA8-C1DA-0A315BE00108}"/>
          </ac:picMkLst>
        </pc:picChg>
        <pc:picChg chg="add mod">
          <ac:chgData name="Gabriele Zanoletti" userId="fc6666fa-3441-4ddc-a8b9-f69fbbdf5644" providerId="ADAL" clId="{F2571258-CC26-4B12-B833-E4A17A5DE9C1}" dt="2024-01-23T13:31:28.105" v="294" actId="1076"/>
          <ac:picMkLst>
            <pc:docMk/>
            <pc:sldMk cId="692283471" sldId="293"/>
            <ac:picMk id="13" creationId="{273DA1F4-A7AC-1500-EAC8-A8167DB5B019}"/>
          </ac:picMkLst>
        </pc:picChg>
        <pc:picChg chg="add mod">
          <ac:chgData name="Gabriele Zanoletti" userId="fc6666fa-3441-4ddc-a8b9-f69fbbdf5644" providerId="ADAL" clId="{F2571258-CC26-4B12-B833-E4A17A5DE9C1}" dt="2024-01-23T13:31:35.976" v="295" actId="1076"/>
          <ac:picMkLst>
            <pc:docMk/>
            <pc:sldMk cId="692283471" sldId="293"/>
            <ac:picMk id="15" creationId="{68D81A0E-F544-D4D3-AEF2-99543245CF4B}"/>
          </ac:picMkLst>
        </pc:picChg>
      </pc:sldChg>
      <pc:sldChg chg="addSp delSp modSp add mod modClrScheme chgLayout">
        <pc:chgData name="Gabriele Zanoletti" userId="fc6666fa-3441-4ddc-a8b9-f69fbbdf5644" providerId="ADAL" clId="{F2571258-CC26-4B12-B833-E4A17A5DE9C1}" dt="2024-01-24T08:24:47.197" v="4063" actId="255"/>
        <pc:sldMkLst>
          <pc:docMk/>
          <pc:sldMk cId="2858633819" sldId="294"/>
        </pc:sldMkLst>
        <pc:spChg chg="mod ord">
          <ac:chgData name="Gabriele Zanoletti" userId="fc6666fa-3441-4ddc-a8b9-f69fbbdf5644" providerId="ADAL" clId="{F2571258-CC26-4B12-B833-E4A17A5DE9C1}" dt="2024-01-23T15:44:12.659" v="2621" actId="700"/>
          <ac:spMkLst>
            <pc:docMk/>
            <pc:sldMk cId="2858633819" sldId="294"/>
            <ac:spMk id="2" creationId="{51BBF078-C8A6-B19B-5A86-1388E178168E}"/>
          </ac:spMkLst>
        </pc:spChg>
        <pc:spChg chg="mod ord">
          <ac:chgData name="Gabriele Zanoletti" userId="fc6666fa-3441-4ddc-a8b9-f69fbbdf5644" providerId="ADAL" clId="{F2571258-CC26-4B12-B833-E4A17A5DE9C1}" dt="2024-01-23T15:44:12.659" v="2621" actId="700"/>
          <ac:spMkLst>
            <pc:docMk/>
            <pc:sldMk cId="2858633819" sldId="294"/>
            <ac:spMk id="3" creationId="{C04D15B5-7960-56F9-327A-2187E8DB5B91}"/>
          </ac:spMkLst>
        </pc:spChg>
        <pc:spChg chg="mod ord">
          <ac:chgData name="Gabriele Zanoletti" userId="fc6666fa-3441-4ddc-a8b9-f69fbbdf5644" providerId="ADAL" clId="{F2571258-CC26-4B12-B833-E4A17A5DE9C1}" dt="2024-01-23T15:44:12.659" v="2621" actId="700"/>
          <ac:spMkLst>
            <pc:docMk/>
            <pc:sldMk cId="2858633819" sldId="294"/>
            <ac:spMk id="4" creationId="{AA22CF49-01A6-8083-3BF5-A087AFE4980A}"/>
          </ac:spMkLst>
        </pc:spChg>
        <pc:spChg chg="add mod ord">
          <ac:chgData name="Gabriele Zanoletti" userId="fc6666fa-3441-4ddc-a8b9-f69fbbdf5644" providerId="ADAL" clId="{F2571258-CC26-4B12-B833-E4A17A5DE9C1}" dt="2024-01-24T08:24:42.364" v="4062" actId="255"/>
          <ac:spMkLst>
            <pc:docMk/>
            <pc:sldMk cId="2858633819" sldId="294"/>
            <ac:spMk id="5" creationId="{07C10B25-52DB-6AE0-3DBC-9A996236C2B2}"/>
          </ac:spMkLst>
        </pc:spChg>
        <pc:spChg chg="add mod ord">
          <ac:chgData name="Gabriele Zanoletti" userId="fc6666fa-3441-4ddc-a8b9-f69fbbdf5644" providerId="ADAL" clId="{F2571258-CC26-4B12-B833-E4A17A5DE9C1}" dt="2024-01-24T08:24:47.197" v="4063" actId="255"/>
          <ac:spMkLst>
            <pc:docMk/>
            <pc:sldMk cId="2858633819" sldId="294"/>
            <ac:spMk id="7" creationId="{4CD401C1-C9E4-A15B-4244-04B575C68909}"/>
          </ac:spMkLst>
        </pc:spChg>
        <pc:spChg chg="del">
          <ac:chgData name="Gabriele Zanoletti" userId="fc6666fa-3441-4ddc-a8b9-f69fbbdf5644" providerId="ADAL" clId="{F2571258-CC26-4B12-B833-E4A17A5DE9C1}" dt="2024-01-23T15:44:46.707" v="2641" actId="478"/>
          <ac:spMkLst>
            <pc:docMk/>
            <pc:sldMk cId="2858633819" sldId="294"/>
            <ac:spMk id="9" creationId="{384C8E91-B72A-D715-878D-3115E7D21AE9}"/>
          </ac:spMkLst>
        </pc:spChg>
        <pc:spChg chg="add del">
          <ac:chgData name="Gabriele Zanoletti" userId="fc6666fa-3441-4ddc-a8b9-f69fbbdf5644" providerId="ADAL" clId="{F2571258-CC26-4B12-B833-E4A17A5DE9C1}" dt="2024-01-23T15:52:21.398" v="2879" actId="22"/>
          <ac:spMkLst>
            <pc:docMk/>
            <pc:sldMk cId="2858633819" sldId="294"/>
            <ac:spMk id="11" creationId="{665CB14D-993A-AF8F-1F51-41F9D33C7F56}"/>
          </ac:spMkLst>
        </pc:spChg>
        <pc:spChg chg="add del">
          <ac:chgData name="Gabriele Zanoletti" userId="fc6666fa-3441-4ddc-a8b9-f69fbbdf5644" providerId="ADAL" clId="{F2571258-CC26-4B12-B833-E4A17A5DE9C1}" dt="2024-01-23T15:52:22.370" v="2881" actId="22"/>
          <ac:spMkLst>
            <pc:docMk/>
            <pc:sldMk cId="2858633819" sldId="294"/>
            <ac:spMk id="13" creationId="{28D3A23E-5FE7-690B-FFC1-3017273DDB39}"/>
          </ac:spMkLst>
        </pc:spChg>
        <pc:picChg chg="add mod">
          <ac:chgData name="Gabriele Zanoletti" userId="fc6666fa-3441-4ddc-a8b9-f69fbbdf5644" providerId="ADAL" clId="{F2571258-CC26-4B12-B833-E4A17A5DE9C1}" dt="2024-01-24T08:03:27.647" v="3190" actId="1035"/>
          <ac:picMkLst>
            <pc:docMk/>
            <pc:sldMk cId="2858633819" sldId="294"/>
            <ac:picMk id="6" creationId="{6836B168-99CC-A640-D030-013E49A9CF3F}"/>
          </ac:picMkLst>
        </pc:picChg>
        <pc:picChg chg="add mod">
          <ac:chgData name="Gabriele Zanoletti" userId="fc6666fa-3441-4ddc-a8b9-f69fbbdf5644" providerId="ADAL" clId="{F2571258-CC26-4B12-B833-E4A17A5DE9C1}" dt="2024-01-24T08:03:27.647" v="3190" actId="1035"/>
          <ac:picMkLst>
            <pc:docMk/>
            <pc:sldMk cId="2858633819" sldId="294"/>
            <ac:picMk id="8" creationId="{0A43B661-CE5B-1DCF-094C-73004AD4591D}"/>
          </ac:picMkLst>
        </pc:picChg>
        <pc:picChg chg="del">
          <ac:chgData name="Gabriele Zanoletti" userId="fc6666fa-3441-4ddc-a8b9-f69fbbdf5644" providerId="ADAL" clId="{F2571258-CC26-4B12-B833-E4A17A5DE9C1}" dt="2024-01-23T13:32:24.345" v="298" actId="478"/>
          <ac:picMkLst>
            <pc:docMk/>
            <pc:sldMk cId="2858633819" sldId="294"/>
            <ac:picMk id="13" creationId="{273DA1F4-A7AC-1500-EAC8-A8167DB5B019}"/>
          </ac:picMkLst>
        </pc:picChg>
        <pc:picChg chg="del">
          <ac:chgData name="Gabriele Zanoletti" userId="fc6666fa-3441-4ddc-a8b9-f69fbbdf5644" providerId="ADAL" clId="{F2571258-CC26-4B12-B833-E4A17A5DE9C1}" dt="2024-01-23T13:32:23.968" v="297" actId="478"/>
          <ac:picMkLst>
            <pc:docMk/>
            <pc:sldMk cId="2858633819" sldId="294"/>
            <ac:picMk id="15" creationId="{68D81A0E-F544-D4D3-AEF2-99543245CF4B}"/>
          </ac:picMkLst>
        </pc:picChg>
      </pc:sldChg>
      <pc:sldChg chg="addSp delSp modSp add mod">
        <pc:chgData name="Gabriele Zanoletti" userId="fc6666fa-3441-4ddc-a8b9-f69fbbdf5644" providerId="ADAL" clId="{F2571258-CC26-4B12-B833-E4A17A5DE9C1}" dt="2024-01-24T08:18:25.847" v="3635" actId="1076"/>
        <pc:sldMkLst>
          <pc:docMk/>
          <pc:sldMk cId="3804523030" sldId="295"/>
        </pc:sldMkLst>
        <pc:spChg chg="mod">
          <ac:chgData name="Gabriele Zanoletti" userId="fc6666fa-3441-4ddc-a8b9-f69fbbdf5644" providerId="ADAL" clId="{F2571258-CC26-4B12-B833-E4A17A5DE9C1}" dt="2024-01-23T15:03:45.097" v="906" actId="6549"/>
          <ac:spMkLst>
            <pc:docMk/>
            <pc:sldMk cId="3804523030" sldId="295"/>
            <ac:spMk id="2" creationId="{51BBF078-C8A6-B19B-5A86-1388E178168E}"/>
          </ac:spMkLst>
        </pc:spChg>
        <pc:spChg chg="add del">
          <ac:chgData name="Gabriele Zanoletti" userId="fc6666fa-3441-4ddc-a8b9-f69fbbdf5644" providerId="ADAL" clId="{F2571258-CC26-4B12-B833-E4A17A5DE9C1}" dt="2024-01-24T08:05:11.242" v="3276" actId="22"/>
          <ac:spMkLst>
            <pc:docMk/>
            <pc:sldMk cId="3804523030" sldId="295"/>
            <ac:spMk id="6" creationId="{BE5A4D23-8FED-5A7A-E7F8-B352AF161017}"/>
          </ac:spMkLst>
        </pc:spChg>
        <pc:spChg chg="mod">
          <ac:chgData name="Gabriele Zanoletti" userId="fc6666fa-3441-4ddc-a8b9-f69fbbdf5644" providerId="ADAL" clId="{F2571258-CC26-4B12-B833-E4A17A5DE9C1}" dt="2024-01-24T08:18:01.285" v="3629" actId="14100"/>
          <ac:spMkLst>
            <pc:docMk/>
            <pc:sldMk cId="3804523030" sldId="295"/>
            <ac:spMk id="9" creationId="{384C8E91-B72A-D715-878D-3115E7D21AE9}"/>
          </ac:spMkLst>
        </pc:spChg>
        <pc:spChg chg="add mod">
          <ac:chgData name="Gabriele Zanoletti" userId="fc6666fa-3441-4ddc-a8b9-f69fbbdf5644" providerId="ADAL" clId="{F2571258-CC26-4B12-B833-E4A17A5DE9C1}" dt="2024-01-24T08:18:25.847" v="3635" actId="1076"/>
          <ac:spMkLst>
            <pc:docMk/>
            <pc:sldMk cId="3804523030" sldId="295"/>
            <ac:spMk id="10" creationId="{6959B758-C75A-2346-3F76-6CE74CFE608E}"/>
          </ac:spMkLst>
        </pc:spChg>
        <pc:picChg chg="del">
          <ac:chgData name="Gabriele Zanoletti" userId="fc6666fa-3441-4ddc-a8b9-f69fbbdf5644" providerId="ADAL" clId="{F2571258-CC26-4B12-B833-E4A17A5DE9C1}" dt="2024-01-23T13:35:01.849" v="308" actId="478"/>
          <ac:picMkLst>
            <pc:docMk/>
            <pc:sldMk cId="3804523030" sldId="295"/>
            <ac:picMk id="6" creationId="{6836B168-99CC-A640-D030-013E49A9CF3F}"/>
          </ac:picMkLst>
        </pc:picChg>
        <pc:picChg chg="add mod">
          <ac:chgData name="Gabriele Zanoletti" userId="fc6666fa-3441-4ddc-a8b9-f69fbbdf5644" providerId="ADAL" clId="{F2571258-CC26-4B12-B833-E4A17A5DE9C1}" dt="2024-01-24T08:18:21.918" v="3634" actId="1076"/>
          <ac:picMkLst>
            <pc:docMk/>
            <pc:sldMk cId="3804523030" sldId="295"/>
            <ac:picMk id="7" creationId="{7917CD73-C2A6-63A9-9E9D-B212F4DED292}"/>
          </ac:picMkLst>
        </pc:picChg>
        <pc:picChg chg="del">
          <ac:chgData name="Gabriele Zanoletti" userId="fc6666fa-3441-4ddc-a8b9-f69fbbdf5644" providerId="ADAL" clId="{F2571258-CC26-4B12-B833-E4A17A5DE9C1}" dt="2024-01-23T13:35:02.551" v="309" actId="478"/>
          <ac:picMkLst>
            <pc:docMk/>
            <pc:sldMk cId="3804523030" sldId="295"/>
            <ac:picMk id="8" creationId="{0A43B661-CE5B-1DCF-094C-73004AD4591D}"/>
          </ac:picMkLst>
        </pc:picChg>
      </pc:sldChg>
      <pc:sldChg chg="addSp delSp modSp add mod">
        <pc:chgData name="Gabriele Zanoletti" userId="fc6666fa-3441-4ddc-a8b9-f69fbbdf5644" providerId="ADAL" clId="{F2571258-CC26-4B12-B833-E4A17A5DE9C1}" dt="2024-01-24T08:30:47.290" v="4293" actId="12"/>
        <pc:sldMkLst>
          <pc:docMk/>
          <pc:sldMk cId="1570471128" sldId="296"/>
        </pc:sldMkLst>
        <pc:spChg chg="mod">
          <ac:chgData name="Gabriele Zanoletti" userId="fc6666fa-3441-4ddc-a8b9-f69fbbdf5644" providerId="ADAL" clId="{F2571258-CC26-4B12-B833-E4A17A5DE9C1}" dt="2024-01-23T15:04:13.746" v="957"/>
          <ac:spMkLst>
            <pc:docMk/>
            <pc:sldMk cId="1570471128" sldId="296"/>
            <ac:spMk id="2" creationId="{51BBF078-C8A6-B19B-5A86-1388E178168E}"/>
          </ac:spMkLst>
        </pc:spChg>
        <pc:spChg chg="mod">
          <ac:chgData name="Gabriele Zanoletti" userId="fc6666fa-3441-4ddc-a8b9-f69fbbdf5644" providerId="ADAL" clId="{F2571258-CC26-4B12-B833-E4A17A5DE9C1}" dt="2024-01-24T08:30:47.290" v="4293" actId="12"/>
          <ac:spMkLst>
            <pc:docMk/>
            <pc:sldMk cId="1570471128" sldId="296"/>
            <ac:spMk id="9" creationId="{384C8E91-B72A-D715-878D-3115E7D21AE9}"/>
          </ac:spMkLst>
        </pc:spChg>
        <pc:spChg chg="add mod">
          <ac:chgData name="Gabriele Zanoletti" userId="fc6666fa-3441-4ddc-a8b9-f69fbbdf5644" providerId="ADAL" clId="{F2571258-CC26-4B12-B833-E4A17A5DE9C1}" dt="2024-01-24T08:27:30.305" v="4201" actId="20577"/>
          <ac:spMkLst>
            <pc:docMk/>
            <pc:sldMk cId="1570471128" sldId="296"/>
            <ac:spMk id="12" creationId="{1790EBD9-6684-4CE0-92FE-08B9BBF9FF90}"/>
          </ac:spMkLst>
        </pc:spChg>
        <pc:picChg chg="del">
          <ac:chgData name="Gabriele Zanoletti" userId="fc6666fa-3441-4ddc-a8b9-f69fbbdf5644" providerId="ADAL" clId="{F2571258-CC26-4B12-B833-E4A17A5DE9C1}" dt="2024-01-23T13:37:02.538" v="319" actId="478"/>
          <ac:picMkLst>
            <pc:docMk/>
            <pc:sldMk cId="1570471128" sldId="296"/>
            <ac:picMk id="6" creationId="{6836B168-99CC-A640-D030-013E49A9CF3F}"/>
          </ac:picMkLst>
        </pc:picChg>
        <pc:picChg chg="add mod">
          <ac:chgData name="Gabriele Zanoletti" userId="fc6666fa-3441-4ddc-a8b9-f69fbbdf5644" providerId="ADAL" clId="{F2571258-CC26-4B12-B833-E4A17A5DE9C1}" dt="2024-01-23T13:38:52.450" v="395" actId="1036"/>
          <ac:picMkLst>
            <pc:docMk/>
            <pc:sldMk cId="1570471128" sldId="296"/>
            <ac:picMk id="7" creationId="{0C781AAE-78B4-B51E-F72A-646820477632}"/>
          </ac:picMkLst>
        </pc:picChg>
        <pc:picChg chg="del">
          <ac:chgData name="Gabriele Zanoletti" userId="fc6666fa-3441-4ddc-a8b9-f69fbbdf5644" providerId="ADAL" clId="{F2571258-CC26-4B12-B833-E4A17A5DE9C1}" dt="2024-01-23T13:37:04.113" v="320" actId="478"/>
          <ac:picMkLst>
            <pc:docMk/>
            <pc:sldMk cId="1570471128" sldId="296"/>
            <ac:picMk id="8" creationId="{0A43B661-CE5B-1DCF-094C-73004AD4591D}"/>
          </ac:picMkLst>
        </pc:picChg>
        <pc:picChg chg="add mod">
          <ac:chgData name="Gabriele Zanoletti" userId="fc6666fa-3441-4ddc-a8b9-f69fbbdf5644" providerId="ADAL" clId="{F2571258-CC26-4B12-B833-E4A17A5DE9C1}" dt="2024-01-23T13:38:56.071" v="405" actId="1036"/>
          <ac:picMkLst>
            <pc:docMk/>
            <pc:sldMk cId="1570471128" sldId="296"/>
            <ac:picMk id="11" creationId="{65A293A7-5841-4818-F26A-77B2743FB48E}"/>
          </ac:picMkLst>
        </pc:picChg>
      </pc:sldChg>
      <pc:sldChg chg="addSp delSp modSp add mod">
        <pc:chgData name="Gabriele Zanoletti" userId="fc6666fa-3441-4ddc-a8b9-f69fbbdf5644" providerId="ADAL" clId="{F2571258-CC26-4B12-B833-E4A17A5DE9C1}" dt="2024-01-24T08:35:27.035" v="4479" actId="207"/>
        <pc:sldMkLst>
          <pc:docMk/>
          <pc:sldMk cId="1604505303" sldId="297"/>
        </pc:sldMkLst>
        <pc:spChg chg="mod">
          <ac:chgData name="Gabriele Zanoletti" userId="fc6666fa-3441-4ddc-a8b9-f69fbbdf5644" providerId="ADAL" clId="{F2571258-CC26-4B12-B833-E4A17A5DE9C1}" dt="2024-01-23T15:04:20.939" v="976" actId="20577"/>
          <ac:spMkLst>
            <pc:docMk/>
            <pc:sldMk cId="1604505303" sldId="297"/>
            <ac:spMk id="2" creationId="{51BBF078-C8A6-B19B-5A86-1388E178168E}"/>
          </ac:spMkLst>
        </pc:spChg>
        <pc:spChg chg="mod">
          <ac:chgData name="Gabriele Zanoletti" userId="fc6666fa-3441-4ddc-a8b9-f69fbbdf5644" providerId="ADAL" clId="{F2571258-CC26-4B12-B833-E4A17A5DE9C1}" dt="2024-01-24T08:32:51.718" v="4391" actId="20577"/>
          <ac:spMkLst>
            <pc:docMk/>
            <pc:sldMk cId="1604505303" sldId="297"/>
            <ac:spMk id="9" creationId="{384C8E91-B72A-D715-878D-3115E7D21AE9}"/>
          </ac:spMkLst>
        </pc:spChg>
        <pc:spChg chg="mod">
          <ac:chgData name="Gabriele Zanoletti" userId="fc6666fa-3441-4ddc-a8b9-f69fbbdf5644" providerId="ADAL" clId="{F2571258-CC26-4B12-B833-E4A17A5DE9C1}" dt="2024-01-24T08:35:27.035" v="4479" actId="207"/>
          <ac:spMkLst>
            <pc:docMk/>
            <pc:sldMk cId="1604505303" sldId="297"/>
            <ac:spMk id="12" creationId="{1790EBD9-6684-4CE0-92FE-08B9BBF9FF90}"/>
          </ac:spMkLst>
        </pc:spChg>
        <pc:picChg chg="add mod">
          <ac:chgData name="Gabriele Zanoletti" userId="fc6666fa-3441-4ddc-a8b9-f69fbbdf5644" providerId="ADAL" clId="{F2571258-CC26-4B12-B833-E4A17A5DE9C1}" dt="2024-01-23T13:43:20.548" v="447" actId="1076"/>
          <ac:picMkLst>
            <pc:docMk/>
            <pc:sldMk cId="1604505303" sldId="297"/>
            <ac:picMk id="6" creationId="{8542FF78-9F7E-E9B9-A8C8-A7FAD4DA9004}"/>
          </ac:picMkLst>
        </pc:picChg>
        <pc:picChg chg="del">
          <ac:chgData name="Gabriele Zanoletti" userId="fc6666fa-3441-4ddc-a8b9-f69fbbdf5644" providerId="ADAL" clId="{F2571258-CC26-4B12-B833-E4A17A5DE9C1}" dt="2024-01-23T13:42:53.910" v="440" actId="478"/>
          <ac:picMkLst>
            <pc:docMk/>
            <pc:sldMk cId="1604505303" sldId="297"/>
            <ac:picMk id="7" creationId="{0C781AAE-78B4-B51E-F72A-646820477632}"/>
          </ac:picMkLst>
        </pc:picChg>
        <pc:picChg chg="add mod">
          <ac:chgData name="Gabriele Zanoletti" userId="fc6666fa-3441-4ddc-a8b9-f69fbbdf5644" providerId="ADAL" clId="{F2571258-CC26-4B12-B833-E4A17A5DE9C1}" dt="2024-01-23T13:43:25.863" v="448" actId="1076"/>
          <ac:picMkLst>
            <pc:docMk/>
            <pc:sldMk cId="1604505303" sldId="297"/>
            <ac:picMk id="10" creationId="{F5BA67BB-2B47-8273-94BB-70F246D45EDF}"/>
          </ac:picMkLst>
        </pc:picChg>
        <pc:picChg chg="del">
          <ac:chgData name="Gabriele Zanoletti" userId="fc6666fa-3441-4ddc-a8b9-f69fbbdf5644" providerId="ADAL" clId="{F2571258-CC26-4B12-B833-E4A17A5DE9C1}" dt="2024-01-23T13:42:55.172" v="441" actId="478"/>
          <ac:picMkLst>
            <pc:docMk/>
            <pc:sldMk cId="1604505303" sldId="297"/>
            <ac:picMk id="11" creationId="{65A293A7-5841-4818-F26A-77B2743FB48E}"/>
          </ac:picMkLst>
        </pc:picChg>
      </pc:sldChg>
      <pc:sldChg chg="add del">
        <pc:chgData name="Gabriele Zanoletti" userId="fc6666fa-3441-4ddc-a8b9-f69fbbdf5644" providerId="ADAL" clId="{F2571258-CC26-4B12-B833-E4A17A5DE9C1}" dt="2024-01-23T15:04:33.460" v="977" actId="47"/>
        <pc:sldMkLst>
          <pc:docMk/>
          <pc:sldMk cId="3468081537" sldId="298"/>
        </pc:sldMkLst>
      </pc:sldChg>
      <pc:sldChg chg="addSp delSp modSp new mod">
        <pc:chgData name="Gabriele Zanoletti" userId="fc6666fa-3441-4ddc-a8b9-f69fbbdf5644" providerId="ADAL" clId="{F2571258-CC26-4B12-B833-E4A17A5DE9C1}" dt="2024-01-24T09:15:11.324" v="6035" actId="20577"/>
        <pc:sldMkLst>
          <pc:docMk/>
          <pc:sldMk cId="3397797632" sldId="299"/>
        </pc:sldMkLst>
        <pc:spChg chg="mod">
          <ac:chgData name="Gabriele Zanoletti" userId="fc6666fa-3441-4ddc-a8b9-f69fbbdf5644" providerId="ADAL" clId="{F2571258-CC26-4B12-B833-E4A17A5DE9C1}" dt="2024-01-23T15:05:12.718" v="1024" actId="20577"/>
          <ac:spMkLst>
            <pc:docMk/>
            <pc:sldMk cId="3397797632" sldId="299"/>
            <ac:spMk id="2" creationId="{A32276C4-73BB-0578-40AB-D7DE7AEE228F}"/>
          </ac:spMkLst>
        </pc:spChg>
        <pc:spChg chg="add mod">
          <ac:chgData name="Gabriele Zanoletti" userId="fc6666fa-3441-4ddc-a8b9-f69fbbdf5644" providerId="ADAL" clId="{F2571258-CC26-4B12-B833-E4A17A5DE9C1}" dt="2024-01-24T09:15:11.324" v="6035" actId="20577"/>
          <ac:spMkLst>
            <pc:docMk/>
            <pc:sldMk cId="3397797632" sldId="299"/>
            <ac:spMk id="5" creationId="{7E12A5DC-027B-271D-6C1B-DBD206DFA5D2}"/>
          </ac:spMkLst>
        </pc:spChg>
        <pc:picChg chg="add del mod">
          <ac:chgData name="Gabriele Zanoletti" userId="fc6666fa-3441-4ddc-a8b9-f69fbbdf5644" providerId="ADAL" clId="{F2571258-CC26-4B12-B833-E4A17A5DE9C1}" dt="2024-01-24T08:48:33.175" v="5193" actId="478"/>
          <ac:picMkLst>
            <pc:docMk/>
            <pc:sldMk cId="3397797632" sldId="299"/>
            <ac:picMk id="6" creationId="{C542129C-A244-C393-18EE-DBC6B35BBE45}"/>
          </ac:picMkLst>
        </pc:picChg>
        <pc:picChg chg="add del">
          <ac:chgData name="Gabriele Zanoletti" userId="fc6666fa-3441-4ddc-a8b9-f69fbbdf5644" providerId="ADAL" clId="{F2571258-CC26-4B12-B833-E4A17A5DE9C1}" dt="2024-01-24T08:44:22.310" v="5078" actId="478"/>
          <ac:picMkLst>
            <pc:docMk/>
            <pc:sldMk cId="3397797632" sldId="299"/>
            <ac:picMk id="8" creationId="{3409910E-F1A4-73B7-E499-02FACB29FC28}"/>
          </ac:picMkLst>
        </pc:picChg>
        <pc:picChg chg="add del mod">
          <ac:chgData name="Gabriele Zanoletti" userId="fc6666fa-3441-4ddc-a8b9-f69fbbdf5644" providerId="ADAL" clId="{F2571258-CC26-4B12-B833-E4A17A5DE9C1}" dt="2024-01-23T13:48:08.213" v="454" actId="21"/>
          <ac:picMkLst>
            <pc:docMk/>
            <pc:sldMk cId="3397797632" sldId="299"/>
            <ac:picMk id="8" creationId="{B6794168-D8E1-EDD1-A176-74119CEDB909}"/>
          </ac:picMkLst>
        </pc:picChg>
        <pc:picChg chg="add del mod">
          <ac:chgData name="Gabriele Zanoletti" userId="fc6666fa-3441-4ddc-a8b9-f69fbbdf5644" providerId="ADAL" clId="{F2571258-CC26-4B12-B833-E4A17A5DE9C1}" dt="2024-01-24T08:50:28.683" v="5200" actId="478"/>
          <ac:picMkLst>
            <pc:docMk/>
            <pc:sldMk cId="3397797632" sldId="299"/>
            <ac:picMk id="10" creationId="{96508B31-0664-5814-829B-4F236006D44A}"/>
          </ac:picMkLst>
        </pc:picChg>
        <pc:picChg chg="add mod modCrop">
          <ac:chgData name="Gabriele Zanoletti" userId="fc6666fa-3441-4ddc-a8b9-f69fbbdf5644" providerId="ADAL" clId="{F2571258-CC26-4B12-B833-E4A17A5DE9C1}" dt="2024-01-24T08:54:04.934" v="5503" actId="1076"/>
          <ac:picMkLst>
            <pc:docMk/>
            <pc:sldMk cId="3397797632" sldId="299"/>
            <ac:picMk id="12" creationId="{0B2284A3-8BF2-EBF4-DE7A-149E73EDE7AC}"/>
          </ac:picMkLst>
        </pc:picChg>
      </pc:sldChg>
      <pc:sldChg chg="addSp delSp modSp new mod">
        <pc:chgData name="Gabriele Zanoletti" userId="fc6666fa-3441-4ddc-a8b9-f69fbbdf5644" providerId="ADAL" clId="{F2571258-CC26-4B12-B833-E4A17A5DE9C1}" dt="2024-01-24T09:19:28.290" v="6246" actId="404"/>
        <pc:sldMkLst>
          <pc:docMk/>
          <pc:sldMk cId="1255775440" sldId="300"/>
        </pc:sldMkLst>
        <pc:spChg chg="mod">
          <ac:chgData name="Gabriele Zanoletti" userId="fc6666fa-3441-4ddc-a8b9-f69fbbdf5644" providerId="ADAL" clId="{F2571258-CC26-4B12-B833-E4A17A5DE9C1}" dt="2024-01-23T15:06:22.447" v="1068" actId="20577"/>
          <ac:spMkLst>
            <pc:docMk/>
            <pc:sldMk cId="1255775440" sldId="300"/>
            <ac:spMk id="2" creationId="{0FED1ECC-B37A-AFAC-AAE5-7973C510847E}"/>
          </ac:spMkLst>
        </pc:spChg>
        <pc:spChg chg="add mod">
          <ac:chgData name="Gabriele Zanoletti" userId="fc6666fa-3441-4ddc-a8b9-f69fbbdf5644" providerId="ADAL" clId="{F2571258-CC26-4B12-B833-E4A17A5DE9C1}" dt="2024-01-24T09:19:28.290" v="6246" actId="404"/>
          <ac:spMkLst>
            <pc:docMk/>
            <pc:sldMk cId="1255775440" sldId="300"/>
            <ac:spMk id="6" creationId="{50C010F7-AEE0-3158-E807-1977EC3DB4D2}"/>
          </ac:spMkLst>
        </pc:spChg>
        <pc:picChg chg="add del mod">
          <ac:chgData name="Gabriele Zanoletti" userId="fc6666fa-3441-4ddc-a8b9-f69fbbdf5644" providerId="ADAL" clId="{F2571258-CC26-4B12-B833-E4A17A5DE9C1}" dt="2024-01-24T08:55:43.883" v="5507" actId="478"/>
          <ac:picMkLst>
            <pc:docMk/>
            <pc:sldMk cId="1255775440" sldId="300"/>
            <ac:picMk id="5" creationId="{795F670E-BF44-69E9-9847-E96A50B118E7}"/>
          </ac:picMkLst>
        </pc:picChg>
        <pc:picChg chg="add del mod">
          <ac:chgData name="Gabriele Zanoletti" userId="fc6666fa-3441-4ddc-a8b9-f69fbbdf5644" providerId="ADAL" clId="{F2571258-CC26-4B12-B833-E4A17A5DE9C1}" dt="2024-01-24T09:04:13.656" v="5514" actId="478"/>
          <ac:picMkLst>
            <pc:docMk/>
            <pc:sldMk cId="1255775440" sldId="300"/>
            <ac:picMk id="8" creationId="{B6794168-D8E1-EDD1-A176-74119CEDB909}"/>
          </ac:picMkLst>
        </pc:picChg>
        <pc:picChg chg="add del mod">
          <ac:chgData name="Gabriele Zanoletti" userId="fc6666fa-3441-4ddc-a8b9-f69fbbdf5644" providerId="ADAL" clId="{F2571258-CC26-4B12-B833-E4A17A5DE9C1}" dt="2024-01-24T09:05:21.460" v="5521" actId="478"/>
          <ac:picMkLst>
            <pc:docMk/>
            <pc:sldMk cId="1255775440" sldId="300"/>
            <ac:picMk id="9" creationId="{CFB0C776-E737-09FE-79CE-31B787FB8D01}"/>
          </ac:picMkLst>
        </pc:picChg>
        <pc:picChg chg="add mod">
          <ac:chgData name="Gabriele Zanoletti" userId="fc6666fa-3441-4ddc-a8b9-f69fbbdf5644" providerId="ADAL" clId="{F2571258-CC26-4B12-B833-E4A17A5DE9C1}" dt="2024-01-24T09:05:30.009" v="5525" actId="14100"/>
          <ac:picMkLst>
            <pc:docMk/>
            <pc:sldMk cId="1255775440" sldId="300"/>
            <ac:picMk id="11" creationId="{BFD91EDF-103E-CC18-BED5-D56810C9DC59}"/>
          </ac:picMkLst>
        </pc:picChg>
      </pc:sldChg>
      <pc:sldChg chg="addSp delSp modSp new mod">
        <pc:chgData name="Gabriele Zanoletti" userId="fc6666fa-3441-4ddc-a8b9-f69fbbdf5644" providerId="ADAL" clId="{F2571258-CC26-4B12-B833-E4A17A5DE9C1}" dt="2024-01-24T09:26:49.430" v="6401" actId="20577"/>
        <pc:sldMkLst>
          <pc:docMk/>
          <pc:sldMk cId="1968516981" sldId="301"/>
        </pc:sldMkLst>
        <pc:spChg chg="mod">
          <ac:chgData name="Gabriele Zanoletti" userId="fc6666fa-3441-4ddc-a8b9-f69fbbdf5644" providerId="ADAL" clId="{F2571258-CC26-4B12-B833-E4A17A5DE9C1}" dt="2024-01-23T15:07:28.813" v="1136" actId="20577"/>
          <ac:spMkLst>
            <pc:docMk/>
            <pc:sldMk cId="1968516981" sldId="301"/>
            <ac:spMk id="2" creationId="{E070C1E7-82FC-C308-48AA-BB576309C94E}"/>
          </ac:spMkLst>
        </pc:spChg>
        <pc:spChg chg="add del">
          <ac:chgData name="Gabriele Zanoletti" userId="fc6666fa-3441-4ddc-a8b9-f69fbbdf5644" providerId="ADAL" clId="{F2571258-CC26-4B12-B833-E4A17A5DE9C1}" dt="2024-01-24T09:22:00.578" v="6248" actId="478"/>
          <ac:spMkLst>
            <pc:docMk/>
            <pc:sldMk cId="1968516981" sldId="301"/>
            <ac:spMk id="7" creationId="{5DA769BC-12E5-8B45-6AEF-F49B2746742B}"/>
          </ac:spMkLst>
        </pc:spChg>
        <pc:spChg chg="add mod">
          <ac:chgData name="Gabriele Zanoletti" userId="fc6666fa-3441-4ddc-a8b9-f69fbbdf5644" providerId="ADAL" clId="{F2571258-CC26-4B12-B833-E4A17A5DE9C1}" dt="2024-01-24T09:26:49.430" v="6401" actId="20577"/>
          <ac:spMkLst>
            <pc:docMk/>
            <pc:sldMk cId="1968516981" sldId="301"/>
            <ac:spMk id="8" creationId="{8363D223-88A9-0442-F246-5982E43AFC0F}"/>
          </ac:spMkLst>
        </pc:spChg>
        <pc:picChg chg="add mod">
          <ac:chgData name="Gabriele Zanoletti" userId="fc6666fa-3441-4ddc-a8b9-f69fbbdf5644" providerId="ADAL" clId="{F2571258-CC26-4B12-B833-E4A17A5DE9C1}" dt="2024-01-24T09:22:24.330" v="6255" actId="1076"/>
          <ac:picMkLst>
            <pc:docMk/>
            <pc:sldMk cId="1968516981" sldId="301"/>
            <ac:picMk id="6" creationId="{87E9870D-FDB2-A3E7-A3EC-50D93BF44858}"/>
          </ac:picMkLst>
        </pc:picChg>
        <pc:picChg chg="add del mod">
          <ac:chgData name="Gabriele Zanoletti" userId="fc6666fa-3441-4ddc-a8b9-f69fbbdf5644" providerId="ADAL" clId="{F2571258-CC26-4B12-B833-E4A17A5DE9C1}" dt="2024-01-24T09:22:20.930" v="6254" actId="478"/>
          <ac:picMkLst>
            <pc:docMk/>
            <pc:sldMk cId="1968516981" sldId="301"/>
            <ac:picMk id="9" creationId="{4C1D8C7E-CF1B-A6B6-4D49-8298D5DE42C5}"/>
          </ac:picMkLst>
        </pc:picChg>
      </pc:sldChg>
      <pc:sldChg chg="addSp delSp modSp new mod">
        <pc:chgData name="Gabriele Zanoletti" userId="fc6666fa-3441-4ddc-a8b9-f69fbbdf5644" providerId="ADAL" clId="{F2571258-CC26-4B12-B833-E4A17A5DE9C1}" dt="2024-01-24T09:31:16.601" v="6455" actId="1076"/>
        <pc:sldMkLst>
          <pc:docMk/>
          <pc:sldMk cId="3837282433" sldId="302"/>
        </pc:sldMkLst>
        <pc:spChg chg="mod">
          <ac:chgData name="Gabriele Zanoletti" userId="fc6666fa-3441-4ddc-a8b9-f69fbbdf5644" providerId="ADAL" clId="{F2571258-CC26-4B12-B833-E4A17A5DE9C1}" dt="2024-01-23T15:10:01.729" v="1202" actId="20577"/>
          <ac:spMkLst>
            <pc:docMk/>
            <pc:sldMk cId="3837282433" sldId="302"/>
            <ac:spMk id="2" creationId="{D7C9BEB4-AE92-C198-5C9B-5A770711D3C8}"/>
          </ac:spMkLst>
        </pc:spChg>
        <pc:spChg chg="add del mod">
          <ac:chgData name="Gabriele Zanoletti" userId="fc6666fa-3441-4ddc-a8b9-f69fbbdf5644" providerId="ADAL" clId="{F2571258-CC26-4B12-B833-E4A17A5DE9C1}" dt="2024-01-24T09:27:24.505" v="6404" actId="478"/>
          <ac:spMkLst>
            <pc:docMk/>
            <pc:sldMk cId="3837282433" sldId="302"/>
            <ac:spMk id="7" creationId="{9997929F-87CD-5EB5-1933-697FB6CCF5BE}"/>
          </ac:spMkLst>
        </pc:spChg>
        <pc:spChg chg="add mod">
          <ac:chgData name="Gabriele Zanoletti" userId="fc6666fa-3441-4ddc-a8b9-f69fbbdf5644" providerId="ADAL" clId="{F2571258-CC26-4B12-B833-E4A17A5DE9C1}" dt="2024-01-24T09:31:05.518" v="6454" actId="255"/>
          <ac:spMkLst>
            <pc:docMk/>
            <pc:sldMk cId="3837282433" sldId="302"/>
            <ac:spMk id="9" creationId="{078BCF92-F916-33B3-0D64-C96047F9C5F5}"/>
          </ac:spMkLst>
        </pc:spChg>
        <pc:picChg chg="add mod">
          <ac:chgData name="Gabriele Zanoletti" userId="fc6666fa-3441-4ddc-a8b9-f69fbbdf5644" providerId="ADAL" clId="{F2571258-CC26-4B12-B833-E4A17A5DE9C1}" dt="2024-01-24T09:31:16.601" v="6455" actId="1076"/>
          <ac:picMkLst>
            <pc:docMk/>
            <pc:sldMk cId="3837282433" sldId="302"/>
            <ac:picMk id="6" creationId="{4E41CDDC-DA6F-7C91-0D04-E78724C92FF1}"/>
          </ac:picMkLst>
        </pc:picChg>
        <pc:picChg chg="add mod">
          <ac:chgData name="Gabriele Zanoletti" userId="fc6666fa-3441-4ddc-a8b9-f69fbbdf5644" providerId="ADAL" clId="{F2571258-CC26-4B12-B833-E4A17A5DE9C1}" dt="2024-01-24T09:29:20.733" v="6425" actId="1076"/>
          <ac:picMkLst>
            <pc:docMk/>
            <pc:sldMk cId="3837282433" sldId="302"/>
            <ac:picMk id="8" creationId="{0275A399-5A21-F73B-9407-2CA0146F7624}"/>
          </ac:picMkLst>
        </pc:picChg>
      </pc:sldChg>
      <pc:sldChg chg="addSp modSp new mod">
        <pc:chgData name="Gabriele Zanoletti" userId="fc6666fa-3441-4ddc-a8b9-f69fbbdf5644" providerId="ADAL" clId="{F2571258-CC26-4B12-B833-E4A17A5DE9C1}" dt="2024-01-24T09:32:34.089" v="6468" actId="6549"/>
        <pc:sldMkLst>
          <pc:docMk/>
          <pc:sldMk cId="786950877" sldId="303"/>
        </pc:sldMkLst>
        <pc:spChg chg="mod">
          <ac:chgData name="Gabriele Zanoletti" userId="fc6666fa-3441-4ddc-a8b9-f69fbbdf5644" providerId="ADAL" clId="{F2571258-CC26-4B12-B833-E4A17A5DE9C1}" dt="2024-01-23T15:10:11.571" v="1203" actId="20577"/>
          <ac:spMkLst>
            <pc:docMk/>
            <pc:sldMk cId="786950877" sldId="303"/>
            <ac:spMk id="2" creationId="{06675B17-37D5-6F32-A9A2-60EF4BB95C5E}"/>
          </ac:spMkLst>
        </pc:spChg>
        <pc:spChg chg="add mod">
          <ac:chgData name="Gabriele Zanoletti" userId="fc6666fa-3441-4ddc-a8b9-f69fbbdf5644" providerId="ADAL" clId="{F2571258-CC26-4B12-B833-E4A17A5DE9C1}" dt="2024-01-24T09:32:34.089" v="6468" actId="6549"/>
          <ac:spMkLst>
            <pc:docMk/>
            <pc:sldMk cId="786950877" sldId="303"/>
            <ac:spMk id="5" creationId="{FB1F8869-1CA9-0423-420E-C8D6324DBE23}"/>
          </ac:spMkLst>
        </pc:spChg>
        <pc:picChg chg="add mod">
          <ac:chgData name="Gabriele Zanoletti" userId="fc6666fa-3441-4ddc-a8b9-f69fbbdf5644" providerId="ADAL" clId="{F2571258-CC26-4B12-B833-E4A17A5DE9C1}" dt="2024-01-24T09:32:07.749" v="6461" actId="1076"/>
          <ac:picMkLst>
            <pc:docMk/>
            <pc:sldMk cId="786950877" sldId="303"/>
            <ac:picMk id="6" creationId="{5F6F4CC5-FDDE-53EF-8475-CD13B25E6EE8}"/>
          </ac:picMkLst>
        </pc:picChg>
      </pc:sldChg>
      <pc:sldChg chg="addSp delSp modSp add mod">
        <pc:chgData name="Gabriele Zanoletti" userId="fc6666fa-3441-4ddc-a8b9-f69fbbdf5644" providerId="ADAL" clId="{F2571258-CC26-4B12-B833-E4A17A5DE9C1}" dt="2024-01-24T09:36:27.945" v="6595" actId="14100"/>
        <pc:sldMkLst>
          <pc:docMk/>
          <pc:sldMk cId="4147670638" sldId="304"/>
        </pc:sldMkLst>
        <pc:spChg chg="mod">
          <ac:chgData name="Gabriele Zanoletti" userId="fc6666fa-3441-4ddc-a8b9-f69fbbdf5644" providerId="ADAL" clId="{F2571258-CC26-4B12-B833-E4A17A5DE9C1}" dt="2024-01-23T15:10:15.663" v="1204" actId="20577"/>
          <ac:spMkLst>
            <pc:docMk/>
            <pc:sldMk cId="4147670638" sldId="304"/>
            <ac:spMk id="2" creationId="{06675B17-37D5-6F32-A9A2-60EF4BB95C5E}"/>
          </ac:spMkLst>
        </pc:spChg>
        <pc:spChg chg="add mod">
          <ac:chgData name="Gabriele Zanoletti" userId="fc6666fa-3441-4ddc-a8b9-f69fbbdf5644" providerId="ADAL" clId="{F2571258-CC26-4B12-B833-E4A17A5DE9C1}" dt="2024-01-24T09:36:27.945" v="6595" actId="14100"/>
          <ac:spMkLst>
            <pc:docMk/>
            <pc:sldMk cId="4147670638" sldId="304"/>
            <ac:spMk id="5" creationId="{1D1BB2AF-92FA-D679-2481-ABAEE07337E9}"/>
          </ac:spMkLst>
        </pc:spChg>
        <pc:picChg chg="del">
          <ac:chgData name="Gabriele Zanoletti" userId="fc6666fa-3441-4ddc-a8b9-f69fbbdf5644" providerId="ADAL" clId="{F2571258-CC26-4B12-B833-E4A17A5DE9C1}" dt="2024-01-23T14:12:05.095" v="516" actId="478"/>
          <ac:picMkLst>
            <pc:docMk/>
            <pc:sldMk cId="4147670638" sldId="304"/>
            <ac:picMk id="6" creationId="{5F6F4CC5-FDDE-53EF-8475-CD13B25E6EE8}"/>
          </ac:picMkLst>
        </pc:picChg>
        <pc:picChg chg="add mod">
          <ac:chgData name="Gabriele Zanoletti" userId="fc6666fa-3441-4ddc-a8b9-f69fbbdf5644" providerId="ADAL" clId="{F2571258-CC26-4B12-B833-E4A17A5DE9C1}" dt="2024-01-24T09:34:29.460" v="6530" actId="1076"/>
          <ac:picMkLst>
            <pc:docMk/>
            <pc:sldMk cId="4147670638" sldId="304"/>
            <ac:picMk id="7" creationId="{D180DF65-E1D6-19AE-3679-246BD75F1FC2}"/>
          </ac:picMkLst>
        </pc:picChg>
      </pc:sldChg>
      <pc:sldChg chg="addSp delSp modSp new mod">
        <pc:chgData name="Gabriele Zanoletti" userId="fc6666fa-3441-4ddc-a8b9-f69fbbdf5644" providerId="ADAL" clId="{F2571258-CC26-4B12-B833-E4A17A5DE9C1}" dt="2024-01-24T09:54:09.529" v="6965" actId="1076"/>
        <pc:sldMkLst>
          <pc:docMk/>
          <pc:sldMk cId="2129748764" sldId="305"/>
        </pc:sldMkLst>
        <pc:spChg chg="mod">
          <ac:chgData name="Gabriele Zanoletti" userId="fc6666fa-3441-4ddc-a8b9-f69fbbdf5644" providerId="ADAL" clId="{F2571258-CC26-4B12-B833-E4A17A5DE9C1}" dt="2024-01-23T15:10:44.226" v="1328" actId="20577"/>
          <ac:spMkLst>
            <pc:docMk/>
            <pc:sldMk cId="2129748764" sldId="305"/>
            <ac:spMk id="2" creationId="{22E6288F-4C58-0357-7270-DAE1CDAF3F92}"/>
          </ac:spMkLst>
        </pc:spChg>
        <pc:spChg chg="add del mod">
          <ac:chgData name="Gabriele Zanoletti" userId="fc6666fa-3441-4ddc-a8b9-f69fbbdf5644" providerId="ADAL" clId="{F2571258-CC26-4B12-B833-E4A17A5DE9C1}" dt="2024-01-24T09:52:19.125" v="6782" actId="478"/>
          <ac:spMkLst>
            <pc:docMk/>
            <pc:sldMk cId="2129748764" sldId="305"/>
            <ac:spMk id="5" creationId="{161AC5EE-E577-5065-8934-4C04036C5DE1}"/>
          </ac:spMkLst>
        </pc:spChg>
        <pc:spChg chg="add mod">
          <ac:chgData name="Gabriele Zanoletti" userId="fc6666fa-3441-4ddc-a8b9-f69fbbdf5644" providerId="ADAL" clId="{F2571258-CC26-4B12-B833-E4A17A5DE9C1}" dt="2024-01-24T09:54:00.099" v="6962" actId="122"/>
          <ac:spMkLst>
            <pc:docMk/>
            <pc:sldMk cId="2129748764" sldId="305"/>
            <ac:spMk id="7" creationId="{A06493C9-D57D-B443-F7C5-67928C6CA30F}"/>
          </ac:spMkLst>
        </pc:spChg>
        <pc:picChg chg="add mod modCrop">
          <ac:chgData name="Gabriele Zanoletti" userId="fc6666fa-3441-4ddc-a8b9-f69fbbdf5644" providerId="ADAL" clId="{F2571258-CC26-4B12-B833-E4A17A5DE9C1}" dt="2024-01-24T09:54:09.529" v="6965" actId="1076"/>
          <ac:picMkLst>
            <pc:docMk/>
            <pc:sldMk cId="2129748764" sldId="305"/>
            <ac:picMk id="6" creationId="{17B56DBD-2744-DC79-6B4F-83D9E731D7D4}"/>
          </ac:picMkLst>
        </pc:picChg>
      </pc:sldChg>
      <pc:sldChg chg="addSp delSp modSp new mod ord modCm">
        <pc:chgData name="Gabriele Zanoletti" userId="fc6666fa-3441-4ddc-a8b9-f69fbbdf5644" providerId="ADAL" clId="{F2571258-CC26-4B12-B833-E4A17A5DE9C1}" dt="2024-01-24T11:56:11.253" v="10544" actId="1076"/>
        <pc:sldMkLst>
          <pc:docMk/>
          <pc:sldMk cId="4004401706" sldId="306"/>
        </pc:sldMkLst>
        <pc:spChg chg="mod">
          <ac:chgData name="Gabriele Zanoletti" userId="fc6666fa-3441-4ddc-a8b9-f69fbbdf5644" providerId="ADAL" clId="{F2571258-CC26-4B12-B833-E4A17A5DE9C1}" dt="2024-01-23T15:11:22.809" v="1359" actId="20577"/>
          <ac:spMkLst>
            <pc:docMk/>
            <pc:sldMk cId="4004401706" sldId="306"/>
            <ac:spMk id="2" creationId="{8AECB9C5-20A5-EC47-5C23-A7A35D341FDE}"/>
          </ac:spMkLst>
        </pc:spChg>
        <pc:spChg chg="add mod">
          <ac:chgData name="Gabriele Zanoletti" userId="fc6666fa-3441-4ddc-a8b9-f69fbbdf5644" providerId="ADAL" clId="{F2571258-CC26-4B12-B833-E4A17A5DE9C1}" dt="2024-01-24T09:51:09.108" v="6764" actId="20577"/>
          <ac:spMkLst>
            <pc:docMk/>
            <pc:sldMk cId="4004401706" sldId="306"/>
            <ac:spMk id="7" creationId="{3D66364C-5949-1C11-BADB-DAAABF23F60E}"/>
          </ac:spMkLst>
        </pc:spChg>
        <pc:picChg chg="add del mod modCrop">
          <ac:chgData name="Gabriele Zanoletti" userId="fc6666fa-3441-4ddc-a8b9-f69fbbdf5644" providerId="ADAL" clId="{F2571258-CC26-4B12-B833-E4A17A5DE9C1}" dt="2024-01-24T07:51:15.428" v="3119" actId="478"/>
          <ac:picMkLst>
            <pc:docMk/>
            <pc:sldMk cId="4004401706" sldId="306"/>
            <ac:picMk id="6" creationId="{091D4036-1C9A-836F-655C-2CF64F125ADF}"/>
          </ac:picMkLst>
        </pc:picChg>
        <pc:picChg chg="add mod">
          <ac:chgData name="Gabriele Zanoletti" userId="fc6666fa-3441-4ddc-a8b9-f69fbbdf5644" providerId="ADAL" clId="{F2571258-CC26-4B12-B833-E4A17A5DE9C1}" dt="2024-01-24T09:44:58.475" v="6603" actId="14100"/>
          <ac:picMkLst>
            <pc:docMk/>
            <pc:sldMk cId="4004401706" sldId="306"/>
            <ac:picMk id="6" creationId="{BBBA1E22-BD36-91B0-4BC1-70F0CCB90BE5}"/>
          </ac:picMkLst>
        </pc:picChg>
        <pc:picChg chg="add del mod">
          <ac:chgData name="Gabriele Zanoletti" userId="fc6666fa-3441-4ddc-a8b9-f69fbbdf5644" providerId="ADAL" clId="{F2571258-CC26-4B12-B833-E4A17A5DE9C1}" dt="2024-01-23T14:16:53.708" v="546" actId="478"/>
          <ac:picMkLst>
            <pc:docMk/>
            <pc:sldMk cId="4004401706" sldId="306"/>
            <ac:picMk id="6" creationId="{D46BF2C4-6B97-4315-1F26-FDA00C16B9E0}"/>
          </ac:picMkLst>
        </pc:picChg>
        <pc:picChg chg="add mod modCrop">
          <ac:chgData name="Gabriele Zanoletti" userId="fc6666fa-3441-4ddc-a8b9-f69fbbdf5644" providerId="ADAL" clId="{F2571258-CC26-4B12-B833-E4A17A5DE9C1}" dt="2024-01-24T11:56:11.253" v="10544" actId="1076"/>
          <ac:picMkLst>
            <pc:docMk/>
            <pc:sldMk cId="4004401706" sldId="306"/>
            <ac:picMk id="8" creationId="{0B11CBEA-F85C-2841-5511-88229035CB2D}"/>
          </ac:picMkLst>
        </pc:picChg>
        <pc:picChg chg="add del mod">
          <ac:chgData name="Gabriele Zanoletti" userId="fc6666fa-3441-4ddc-a8b9-f69fbbdf5644" providerId="ADAL" clId="{F2571258-CC26-4B12-B833-E4A17A5DE9C1}" dt="2024-01-24T09:44:48.244" v="6598" actId="478"/>
          <ac:picMkLst>
            <pc:docMk/>
            <pc:sldMk cId="4004401706" sldId="306"/>
            <ac:picMk id="8" creationId="{702EC50C-CEC2-086A-CB65-BDE3C3091EEE}"/>
          </ac:picMkLst>
        </pc:picChg>
        <pc:picChg chg="add del mod">
          <ac:chgData name="Gabriele Zanoletti" userId="fc6666fa-3441-4ddc-a8b9-f69fbbdf5644" providerId="ADAL" clId="{F2571258-CC26-4B12-B833-E4A17A5DE9C1}" dt="2024-01-23T14:17:42.678" v="554" actId="478"/>
          <ac:picMkLst>
            <pc:docMk/>
            <pc:sldMk cId="4004401706" sldId="306"/>
            <ac:picMk id="8" creationId="{FD176689-D28D-7DBC-C1B7-ECC0ACCE8680}"/>
          </ac:picMkLst>
        </pc:picChg>
        <pc:picChg chg="add del mod">
          <ac:chgData name="Gabriele Zanoletti" userId="fc6666fa-3441-4ddc-a8b9-f69fbbdf5644" providerId="ADAL" clId="{F2571258-CC26-4B12-B833-E4A17A5DE9C1}" dt="2024-01-23T19:02:25.653" v="3080" actId="478"/>
          <ac:picMkLst>
            <pc:docMk/>
            <pc:sldMk cId="4004401706" sldId="306"/>
            <ac:picMk id="10" creationId="{56FC5E3E-D166-F53D-7643-AD6657B22C6B}"/>
          </ac:picMkLst>
        </pc:picChg>
        <pc:picChg chg="add del mod modCrop">
          <ac:chgData name="Gabriele Zanoletti" userId="fc6666fa-3441-4ddc-a8b9-f69fbbdf5644" providerId="ADAL" clId="{F2571258-CC26-4B12-B833-E4A17A5DE9C1}" dt="2024-01-24T11:55:47.780" v="10535" actId="478"/>
          <ac:picMkLst>
            <pc:docMk/>
            <pc:sldMk cId="4004401706" sldId="306"/>
            <ac:picMk id="11" creationId="{22E9752A-3928-625E-2CBC-B85021279401}"/>
          </ac:picMkLst>
        </pc:picChg>
        <pc:extLst>
          <p:ext xmlns:p="http://schemas.openxmlformats.org/presentationml/2006/main" uri="{D6D511B9-2390-475A-947B-AFAB55BFBCF1}">
            <pc226:cmChg xmlns:pc226="http://schemas.microsoft.com/office/powerpoint/2022/06/main/command" chg="mod">
              <pc226:chgData name="Gabriele Zanoletti" userId="fc6666fa-3441-4ddc-a8b9-f69fbbdf5644" providerId="ADAL" clId="{F2571258-CC26-4B12-B833-E4A17A5DE9C1}" dt="2024-01-23T19:02:25.661" v="3081" actId="2056"/>
              <pc2:cmMkLst xmlns:pc2="http://schemas.microsoft.com/office/powerpoint/2019/9/main/command">
                <pc:docMk/>
                <pc:sldMk cId="4004401706" sldId="306"/>
                <pc2:cmMk id="{7EF4B918-92B8-4117-8635-D4BBFF2EC088}"/>
              </pc2:cmMkLst>
              <pc226:cmRplyChg chg="add">
                <pc226:chgData name="Gabriele Zanoletti" userId="fc6666fa-3441-4ddc-a8b9-f69fbbdf5644" providerId="ADAL" clId="{F2571258-CC26-4B12-B833-E4A17A5DE9C1}" dt="2024-01-23T17:00:40.557" v="3060"/>
                <pc2:cmRplyMkLst xmlns:pc2="http://schemas.microsoft.com/office/powerpoint/2019/9/main/command">
                  <pc:docMk/>
                  <pc:sldMk cId="4004401706" sldId="306"/>
                  <pc2:cmMk id="{7EF4B918-92B8-4117-8635-D4BBFF2EC088}"/>
                  <pc2:cmRplyMk id="{10CBCBC6-D26A-4DC3-90A4-AD696B3AAD03}"/>
                </pc2:cmRplyMkLst>
              </pc226:cmRplyChg>
            </pc226:cmChg>
          </p:ext>
        </pc:extLst>
      </pc:sldChg>
      <pc:sldChg chg="addSp modSp new mod">
        <pc:chgData name="Gabriele Zanoletti" userId="fc6666fa-3441-4ddc-a8b9-f69fbbdf5644" providerId="ADAL" clId="{F2571258-CC26-4B12-B833-E4A17A5DE9C1}" dt="2024-01-24T09:58:48.139" v="7179" actId="20577"/>
        <pc:sldMkLst>
          <pc:docMk/>
          <pc:sldMk cId="3230328343" sldId="307"/>
        </pc:sldMkLst>
        <pc:spChg chg="mod">
          <ac:chgData name="Gabriele Zanoletti" userId="fc6666fa-3441-4ddc-a8b9-f69fbbdf5644" providerId="ADAL" clId="{F2571258-CC26-4B12-B833-E4A17A5DE9C1}" dt="2024-01-23T15:13:12.661" v="1462" actId="20577"/>
          <ac:spMkLst>
            <pc:docMk/>
            <pc:sldMk cId="3230328343" sldId="307"/>
            <ac:spMk id="2" creationId="{05CF7369-2F65-253A-B1C2-BBEA8D8E5792}"/>
          </ac:spMkLst>
        </pc:spChg>
        <pc:spChg chg="add mod">
          <ac:chgData name="Gabriele Zanoletti" userId="fc6666fa-3441-4ddc-a8b9-f69fbbdf5644" providerId="ADAL" clId="{F2571258-CC26-4B12-B833-E4A17A5DE9C1}" dt="2024-01-24T09:58:48.139" v="7179" actId="20577"/>
          <ac:spMkLst>
            <pc:docMk/>
            <pc:sldMk cId="3230328343" sldId="307"/>
            <ac:spMk id="5" creationId="{B07BC521-FBBA-7C9C-ACDD-A2475B3A821D}"/>
          </ac:spMkLst>
        </pc:spChg>
        <pc:picChg chg="add mod">
          <ac:chgData name="Gabriele Zanoletti" userId="fc6666fa-3441-4ddc-a8b9-f69fbbdf5644" providerId="ADAL" clId="{F2571258-CC26-4B12-B833-E4A17A5DE9C1}" dt="2024-01-24T09:55:03.231" v="6971" actId="1076"/>
          <ac:picMkLst>
            <pc:docMk/>
            <pc:sldMk cId="3230328343" sldId="307"/>
            <ac:picMk id="6" creationId="{9F48A76D-807C-C4A1-0F15-F6A6A11713ED}"/>
          </ac:picMkLst>
        </pc:picChg>
      </pc:sldChg>
      <pc:sldChg chg="addSp delSp modSp new mod modCm">
        <pc:chgData name="Gabriele Zanoletti" userId="fc6666fa-3441-4ddc-a8b9-f69fbbdf5644" providerId="ADAL" clId="{F2571258-CC26-4B12-B833-E4A17A5DE9C1}" dt="2024-01-23T17:34:27.357" v="3079"/>
        <pc:sldMkLst>
          <pc:docMk/>
          <pc:sldMk cId="3362905413" sldId="308"/>
        </pc:sldMkLst>
        <pc:spChg chg="mod">
          <ac:chgData name="Gabriele Zanoletti" userId="fc6666fa-3441-4ddc-a8b9-f69fbbdf5644" providerId="ADAL" clId="{F2571258-CC26-4B12-B833-E4A17A5DE9C1}" dt="2024-01-23T15:13:19.638" v="1467" actId="20577"/>
          <ac:spMkLst>
            <pc:docMk/>
            <pc:sldMk cId="3362905413" sldId="308"/>
            <ac:spMk id="2" creationId="{EB4E5E96-B469-C391-2030-16DB28D7BF63}"/>
          </ac:spMkLst>
        </pc:spChg>
        <pc:picChg chg="add del mod">
          <ac:chgData name="Gabriele Zanoletti" userId="fc6666fa-3441-4ddc-a8b9-f69fbbdf5644" providerId="ADAL" clId="{F2571258-CC26-4B12-B833-E4A17A5DE9C1}" dt="2024-01-23T14:21:11.181" v="566" actId="478"/>
          <ac:picMkLst>
            <pc:docMk/>
            <pc:sldMk cId="3362905413" sldId="308"/>
            <ac:picMk id="6" creationId="{A69E4C12-3520-FAFD-EAB8-D21BF70D8DED}"/>
          </ac:picMkLst>
        </pc:picChg>
        <pc:picChg chg="add del mod">
          <ac:chgData name="Gabriele Zanoletti" userId="fc6666fa-3441-4ddc-a8b9-f69fbbdf5644" providerId="ADAL" clId="{F2571258-CC26-4B12-B833-E4A17A5DE9C1}" dt="2024-01-23T14:26:39.598" v="572" actId="478"/>
          <ac:picMkLst>
            <pc:docMk/>
            <pc:sldMk cId="3362905413" sldId="308"/>
            <ac:picMk id="8" creationId="{6D5552F2-569F-8494-2828-378AD2EB2FB9}"/>
          </ac:picMkLst>
        </pc:picChg>
        <pc:picChg chg="add mod">
          <ac:chgData name="Gabriele Zanoletti" userId="fc6666fa-3441-4ddc-a8b9-f69fbbdf5644" providerId="ADAL" clId="{F2571258-CC26-4B12-B833-E4A17A5DE9C1}" dt="2024-01-23T17:33:54.428" v="3078" actId="14826"/>
          <ac:picMkLst>
            <pc:docMk/>
            <pc:sldMk cId="3362905413" sldId="308"/>
            <ac:picMk id="10" creationId="{2E545020-29B7-C7CA-1AAD-222427B629DD}"/>
          </ac:picMkLst>
        </pc:picChg>
        <pc:extLst>
          <p:ext xmlns:p="http://schemas.openxmlformats.org/presentationml/2006/main" uri="{D6D511B9-2390-475A-947B-AFAB55BFBCF1}">
            <pc226:cmChg xmlns:pc226="http://schemas.microsoft.com/office/powerpoint/2022/06/main/command" chg="">
              <pc226:chgData name="Gabriele Zanoletti" userId="fc6666fa-3441-4ddc-a8b9-f69fbbdf5644" providerId="ADAL" clId="{F2571258-CC26-4B12-B833-E4A17A5DE9C1}" dt="2024-01-23T17:34:27.357" v="3079"/>
              <pc2:cmMkLst xmlns:pc2="http://schemas.microsoft.com/office/powerpoint/2019/9/main/command">
                <pc:docMk/>
                <pc:sldMk cId="3362905413" sldId="308"/>
                <pc2:cmMk id="{05023031-9D81-451E-869F-824F81EDCEE4}"/>
              </pc2:cmMkLst>
              <pc226:cmRplyChg chg="add">
                <pc226:chgData name="Gabriele Zanoletti" userId="fc6666fa-3441-4ddc-a8b9-f69fbbdf5644" providerId="ADAL" clId="{F2571258-CC26-4B12-B833-E4A17A5DE9C1}" dt="2024-01-23T17:34:27.357" v="3079"/>
                <pc2:cmRplyMkLst xmlns:pc2="http://schemas.microsoft.com/office/powerpoint/2019/9/main/command">
                  <pc:docMk/>
                  <pc:sldMk cId="3362905413" sldId="308"/>
                  <pc2:cmMk id="{05023031-9D81-451E-869F-824F81EDCEE4}"/>
                  <pc2:cmRplyMk id="{E03C6E0D-32C9-40AB-B463-EC99AADB7F39}"/>
                </pc2:cmRplyMkLst>
              </pc226:cmRplyChg>
            </pc226:cmChg>
          </p:ext>
        </pc:extLst>
      </pc:sldChg>
      <pc:sldChg chg="addSp modSp new mod">
        <pc:chgData name="Gabriele Zanoletti" userId="fc6666fa-3441-4ddc-a8b9-f69fbbdf5644" providerId="ADAL" clId="{F2571258-CC26-4B12-B833-E4A17A5DE9C1}" dt="2024-01-24T10:40:06.710" v="8116" actId="313"/>
        <pc:sldMkLst>
          <pc:docMk/>
          <pc:sldMk cId="1862611760" sldId="309"/>
        </pc:sldMkLst>
        <pc:spChg chg="mod">
          <ac:chgData name="Gabriele Zanoletti" userId="fc6666fa-3441-4ddc-a8b9-f69fbbdf5644" providerId="ADAL" clId="{F2571258-CC26-4B12-B833-E4A17A5DE9C1}" dt="2024-01-23T15:15:15.885" v="1638" actId="20577"/>
          <ac:spMkLst>
            <pc:docMk/>
            <pc:sldMk cId="1862611760" sldId="309"/>
            <ac:spMk id="2" creationId="{F25E1798-44B9-E9A7-1C0B-8AB32CAA377B}"/>
          </ac:spMkLst>
        </pc:spChg>
        <pc:spChg chg="add mod">
          <ac:chgData name="Gabriele Zanoletti" userId="fc6666fa-3441-4ddc-a8b9-f69fbbdf5644" providerId="ADAL" clId="{F2571258-CC26-4B12-B833-E4A17A5DE9C1}" dt="2024-01-24T10:40:06.710" v="8116" actId="313"/>
          <ac:spMkLst>
            <pc:docMk/>
            <pc:sldMk cId="1862611760" sldId="309"/>
            <ac:spMk id="5" creationId="{AC4238AF-2DF0-4FA6-1538-779A98CF0F5A}"/>
          </ac:spMkLst>
        </pc:spChg>
        <pc:picChg chg="add mod">
          <ac:chgData name="Gabriele Zanoletti" userId="fc6666fa-3441-4ddc-a8b9-f69fbbdf5644" providerId="ADAL" clId="{F2571258-CC26-4B12-B833-E4A17A5DE9C1}" dt="2024-01-24T10:32:26.434" v="7782" actId="1076"/>
          <ac:picMkLst>
            <pc:docMk/>
            <pc:sldMk cId="1862611760" sldId="309"/>
            <ac:picMk id="6" creationId="{E38F384D-7679-9600-6C38-1A48348F88B8}"/>
          </ac:picMkLst>
        </pc:picChg>
      </pc:sldChg>
      <pc:sldChg chg="addSp delSp modSp new mod">
        <pc:chgData name="Gabriele Zanoletti" userId="fc6666fa-3441-4ddc-a8b9-f69fbbdf5644" providerId="ADAL" clId="{F2571258-CC26-4B12-B833-E4A17A5DE9C1}" dt="2024-01-24T10:12:32.128" v="7777" actId="14100"/>
        <pc:sldMkLst>
          <pc:docMk/>
          <pc:sldMk cId="3056404990" sldId="310"/>
        </pc:sldMkLst>
        <pc:spChg chg="mod">
          <ac:chgData name="Gabriele Zanoletti" userId="fc6666fa-3441-4ddc-a8b9-f69fbbdf5644" providerId="ADAL" clId="{F2571258-CC26-4B12-B833-E4A17A5DE9C1}" dt="2024-01-23T15:15:08.300" v="1617" actId="20577"/>
          <ac:spMkLst>
            <pc:docMk/>
            <pc:sldMk cId="3056404990" sldId="310"/>
            <ac:spMk id="2" creationId="{662082BB-C9A7-C989-B91F-7342A9ACB82B}"/>
          </ac:spMkLst>
        </pc:spChg>
        <pc:spChg chg="add del">
          <ac:chgData name="Gabriele Zanoletti" userId="fc6666fa-3441-4ddc-a8b9-f69fbbdf5644" providerId="ADAL" clId="{F2571258-CC26-4B12-B833-E4A17A5DE9C1}" dt="2024-01-24T10:11:11.015" v="7750" actId="22"/>
          <ac:spMkLst>
            <pc:docMk/>
            <pc:sldMk cId="3056404990" sldId="310"/>
            <ac:spMk id="8" creationId="{214874CB-D05D-008E-5720-1344FECA71D4}"/>
          </ac:spMkLst>
        </pc:spChg>
        <pc:spChg chg="add del">
          <ac:chgData name="Gabriele Zanoletti" userId="fc6666fa-3441-4ddc-a8b9-f69fbbdf5644" providerId="ADAL" clId="{F2571258-CC26-4B12-B833-E4A17A5DE9C1}" dt="2024-01-24T10:11:12.850" v="7752" actId="22"/>
          <ac:spMkLst>
            <pc:docMk/>
            <pc:sldMk cId="3056404990" sldId="310"/>
            <ac:spMk id="10" creationId="{205B5BEC-1981-9691-B9A5-E5B31C93FFE7}"/>
          </ac:spMkLst>
        </pc:spChg>
        <pc:spChg chg="add del">
          <ac:chgData name="Gabriele Zanoletti" userId="fc6666fa-3441-4ddc-a8b9-f69fbbdf5644" providerId="ADAL" clId="{F2571258-CC26-4B12-B833-E4A17A5DE9C1}" dt="2024-01-24T10:11:16.057" v="7754" actId="478"/>
          <ac:spMkLst>
            <pc:docMk/>
            <pc:sldMk cId="3056404990" sldId="310"/>
            <ac:spMk id="12" creationId="{510AD54C-2317-C9DE-C41E-C96D489B1572}"/>
          </ac:spMkLst>
        </pc:spChg>
        <pc:spChg chg="add mod">
          <ac:chgData name="Gabriele Zanoletti" userId="fc6666fa-3441-4ddc-a8b9-f69fbbdf5644" providerId="ADAL" clId="{F2571258-CC26-4B12-B833-E4A17A5DE9C1}" dt="2024-01-24T10:11:51.284" v="7765" actId="14100"/>
          <ac:spMkLst>
            <pc:docMk/>
            <pc:sldMk cId="3056404990" sldId="310"/>
            <ac:spMk id="13" creationId="{1EB651DB-6E78-D1E3-DD02-943BEADAAD28}"/>
          </ac:spMkLst>
        </pc:spChg>
        <pc:picChg chg="add mod">
          <ac:chgData name="Gabriele Zanoletti" userId="fc6666fa-3441-4ddc-a8b9-f69fbbdf5644" providerId="ADAL" clId="{F2571258-CC26-4B12-B833-E4A17A5DE9C1}" dt="2024-01-24T10:12:29.232" v="7776" actId="1076"/>
          <ac:picMkLst>
            <pc:docMk/>
            <pc:sldMk cId="3056404990" sldId="310"/>
            <ac:picMk id="5" creationId="{5E7B7270-F1F7-83FD-94CF-80C6A80F7EA5}"/>
          </ac:picMkLst>
        </pc:picChg>
        <pc:picChg chg="add mod">
          <ac:chgData name="Gabriele Zanoletti" userId="fc6666fa-3441-4ddc-a8b9-f69fbbdf5644" providerId="ADAL" clId="{F2571258-CC26-4B12-B833-E4A17A5DE9C1}" dt="2024-01-24T10:12:32.128" v="7777" actId="14100"/>
          <ac:picMkLst>
            <pc:docMk/>
            <pc:sldMk cId="3056404990" sldId="310"/>
            <ac:picMk id="6" creationId="{DB30A713-440A-A7EE-B596-7CAF70824DE2}"/>
          </ac:picMkLst>
        </pc:picChg>
      </pc:sldChg>
      <pc:sldChg chg="addSp delSp modSp new mod ord">
        <pc:chgData name="Gabriele Zanoletti" userId="fc6666fa-3441-4ddc-a8b9-f69fbbdf5644" providerId="ADAL" clId="{F2571258-CC26-4B12-B833-E4A17A5DE9C1}" dt="2024-01-24T10:10:31.814" v="7746" actId="207"/>
        <pc:sldMkLst>
          <pc:docMk/>
          <pc:sldMk cId="3396422946" sldId="311"/>
        </pc:sldMkLst>
        <pc:spChg chg="mod">
          <ac:chgData name="Gabriele Zanoletti" userId="fc6666fa-3441-4ddc-a8b9-f69fbbdf5644" providerId="ADAL" clId="{F2571258-CC26-4B12-B833-E4A17A5DE9C1}" dt="2024-01-23T15:15:05.988" v="1616" actId="20577"/>
          <ac:spMkLst>
            <pc:docMk/>
            <pc:sldMk cId="3396422946" sldId="311"/>
            <ac:spMk id="2" creationId="{9A16C503-7AFD-C031-469E-EA35F5B3BDC7}"/>
          </ac:spMkLst>
        </pc:spChg>
        <pc:spChg chg="add mod">
          <ac:chgData name="Gabriele Zanoletti" userId="fc6666fa-3441-4ddc-a8b9-f69fbbdf5644" providerId="ADAL" clId="{F2571258-CC26-4B12-B833-E4A17A5DE9C1}" dt="2024-01-24T10:02:52.287" v="7307" actId="1036"/>
          <ac:spMkLst>
            <pc:docMk/>
            <pc:sldMk cId="3396422946" sldId="311"/>
            <ac:spMk id="5" creationId="{489319FF-61D4-FFD6-5A12-DF8EB4FACE5E}"/>
          </ac:spMkLst>
        </pc:spChg>
        <pc:spChg chg="add mod">
          <ac:chgData name="Gabriele Zanoletti" userId="fc6666fa-3441-4ddc-a8b9-f69fbbdf5644" providerId="ADAL" clId="{F2571258-CC26-4B12-B833-E4A17A5DE9C1}" dt="2024-01-24T10:03:14.639" v="7344" actId="20577"/>
          <ac:spMkLst>
            <pc:docMk/>
            <pc:sldMk cId="3396422946" sldId="311"/>
            <ac:spMk id="6" creationId="{99DE8857-3F24-E736-FFD4-27CB50E401E4}"/>
          </ac:spMkLst>
        </pc:spChg>
        <pc:spChg chg="add mod">
          <ac:chgData name="Gabriele Zanoletti" userId="fc6666fa-3441-4ddc-a8b9-f69fbbdf5644" providerId="ADAL" clId="{F2571258-CC26-4B12-B833-E4A17A5DE9C1}" dt="2024-01-24T10:04:00.934" v="7359" actId="1076"/>
          <ac:spMkLst>
            <pc:docMk/>
            <pc:sldMk cId="3396422946" sldId="311"/>
            <ac:spMk id="7" creationId="{164AD2CD-174E-83C8-0CD8-721C5312C3A8}"/>
          </ac:spMkLst>
        </pc:spChg>
        <pc:spChg chg="add mod">
          <ac:chgData name="Gabriele Zanoletti" userId="fc6666fa-3441-4ddc-a8b9-f69fbbdf5644" providerId="ADAL" clId="{F2571258-CC26-4B12-B833-E4A17A5DE9C1}" dt="2024-01-24T10:04:18" v="7363" actId="1038"/>
          <ac:spMkLst>
            <pc:docMk/>
            <pc:sldMk cId="3396422946" sldId="311"/>
            <ac:spMk id="8" creationId="{AF11ED59-1850-5721-B1B2-ACE017227103}"/>
          </ac:spMkLst>
        </pc:spChg>
        <pc:spChg chg="add del mod">
          <ac:chgData name="Gabriele Zanoletti" userId="fc6666fa-3441-4ddc-a8b9-f69fbbdf5644" providerId="ADAL" clId="{F2571258-CC26-4B12-B833-E4A17A5DE9C1}" dt="2024-01-24T10:09:24.738" v="7740" actId="478"/>
          <ac:spMkLst>
            <pc:docMk/>
            <pc:sldMk cId="3396422946" sldId="311"/>
            <ac:spMk id="9" creationId="{AAC223F9-24D6-F806-4577-65D1B706DE83}"/>
          </ac:spMkLst>
        </pc:spChg>
        <pc:spChg chg="add del mod">
          <ac:chgData name="Gabriele Zanoletti" userId="fc6666fa-3441-4ddc-a8b9-f69fbbdf5644" providerId="ADAL" clId="{F2571258-CC26-4B12-B833-E4A17A5DE9C1}" dt="2024-01-24T10:08:11.590" v="7732" actId="478"/>
          <ac:spMkLst>
            <pc:docMk/>
            <pc:sldMk cId="3396422946" sldId="311"/>
            <ac:spMk id="10" creationId="{31F4EA30-EB98-7C09-03CF-D4D44F75932C}"/>
          </ac:spMkLst>
        </pc:spChg>
        <pc:spChg chg="add mod">
          <ac:chgData name="Gabriele Zanoletti" userId="fc6666fa-3441-4ddc-a8b9-f69fbbdf5644" providerId="ADAL" clId="{F2571258-CC26-4B12-B833-E4A17A5DE9C1}" dt="2024-01-24T10:10:31.814" v="7746" actId="207"/>
          <ac:spMkLst>
            <pc:docMk/>
            <pc:sldMk cId="3396422946" sldId="311"/>
            <ac:spMk id="11" creationId="{0D913705-906C-0EEC-DAD0-E6B0358AD453}"/>
          </ac:spMkLst>
        </pc:spChg>
        <pc:spChg chg="add mod">
          <ac:chgData name="Gabriele Zanoletti" userId="fc6666fa-3441-4ddc-a8b9-f69fbbdf5644" providerId="ADAL" clId="{F2571258-CC26-4B12-B833-E4A17A5DE9C1}" dt="2024-01-24T10:09:37.591" v="7745"/>
          <ac:spMkLst>
            <pc:docMk/>
            <pc:sldMk cId="3396422946" sldId="311"/>
            <ac:spMk id="12" creationId="{C91EEDA4-E230-6BA2-18DA-987EEF933623}"/>
          </ac:spMkLst>
        </pc:spChg>
        <pc:picChg chg="add mod">
          <ac:chgData name="Gabriele Zanoletti" userId="fc6666fa-3441-4ddc-a8b9-f69fbbdf5644" providerId="ADAL" clId="{F2571258-CC26-4B12-B833-E4A17A5DE9C1}" dt="2024-01-23T14:33:24.134" v="592"/>
          <ac:picMkLst>
            <pc:docMk/>
            <pc:sldMk cId="3396422946" sldId="311"/>
            <ac:picMk id="6" creationId="{683672E5-5E85-AC7C-5BFE-7727E800B95C}"/>
          </ac:picMkLst>
        </pc:picChg>
        <pc:picChg chg="add mod">
          <ac:chgData name="Gabriele Zanoletti" userId="fc6666fa-3441-4ddc-a8b9-f69fbbdf5644" providerId="ADAL" clId="{F2571258-CC26-4B12-B833-E4A17A5DE9C1}" dt="2024-01-23T14:33:31.817" v="595" actId="1076"/>
          <ac:picMkLst>
            <pc:docMk/>
            <pc:sldMk cId="3396422946" sldId="311"/>
            <ac:picMk id="8" creationId="{E903D300-5AAB-6B6C-8C2B-60B22BF5044A}"/>
          </ac:picMkLst>
        </pc:picChg>
        <pc:picChg chg="add mod">
          <ac:chgData name="Gabriele Zanoletti" userId="fc6666fa-3441-4ddc-a8b9-f69fbbdf5644" providerId="ADAL" clId="{F2571258-CC26-4B12-B833-E4A17A5DE9C1}" dt="2024-01-23T14:33:32.400" v="596" actId="1076"/>
          <ac:picMkLst>
            <pc:docMk/>
            <pc:sldMk cId="3396422946" sldId="311"/>
            <ac:picMk id="10" creationId="{6835F376-4F03-1778-3727-05F4CF48EAC0}"/>
          </ac:picMkLst>
        </pc:picChg>
        <pc:picChg chg="add mod">
          <ac:chgData name="Gabriele Zanoletti" userId="fc6666fa-3441-4ddc-a8b9-f69fbbdf5644" providerId="ADAL" clId="{F2571258-CC26-4B12-B833-E4A17A5DE9C1}" dt="2024-01-23T14:33:24.134" v="592"/>
          <ac:picMkLst>
            <pc:docMk/>
            <pc:sldMk cId="3396422946" sldId="311"/>
            <ac:picMk id="12" creationId="{4348A8C8-32BF-C265-241D-8F7923D0043F}"/>
          </ac:picMkLst>
        </pc:picChg>
        <pc:picChg chg="add mod">
          <ac:chgData name="Gabriele Zanoletti" userId="fc6666fa-3441-4ddc-a8b9-f69fbbdf5644" providerId="ADAL" clId="{F2571258-CC26-4B12-B833-E4A17A5DE9C1}" dt="2024-01-24T10:02:59.863" v="7322" actId="1036"/>
          <ac:picMkLst>
            <pc:docMk/>
            <pc:sldMk cId="3396422946" sldId="311"/>
            <ac:picMk id="14" creationId="{8283BE16-B21A-858E-A611-039B3511E38B}"/>
          </ac:picMkLst>
        </pc:picChg>
        <pc:picChg chg="add mod">
          <ac:chgData name="Gabriele Zanoletti" userId="fc6666fa-3441-4ddc-a8b9-f69fbbdf5644" providerId="ADAL" clId="{F2571258-CC26-4B12-B833-E4A17A5DE9C1}" dt="2024-01-24T10:03:22.927" v="7354" actId="1036"/>
          <ac:picMkLst>
            <pc:docMk/>
            <pc:sldMk cId="3396422946" sldId="311"/>
            <ac:picMk id="16" creationId="{8BB9BB2C-E93E-631F-51D4-D3C5500AAFE9}"/>
          </ac:picMkLst>
        </pc:picChg>
        <pc:picChg chg="add mod">
          <ac:chgData name="Gabriele Zanoletti" userId="fc6666fa-3441-4ddc-a8b9-f69fbbdf5644" providerId="ADAL" clId="{F2571258-CC26-4B12-B833-E4A17A5DE9C1}" dt="2024-01-24T10:03:22.927" v="7354" actId="1036"/>
          <ac:picMkLst>
            <pc:docMk/>
            <pc:sldMk cId="3396422946" sldId="311"/>
            <ac:picMk id="18" creationId="{B2715800-E525-7562-CD49-D3A8D2FA632E}"/>
          </ac:picMkLst>
        </pc:picChg>
        <pc:picChg chg="add mod">
          <ac:chgData name="Gabriele Zanoletti" userId="fc6666fa-3441-4ddc-a8b9-f69fbbdf5644" providerId="ADAL" clId="{F2571258-CC26-4B12-B833-E4A17A5DE9C1}" dt="2024-01-24T10:02:59.863" v="7322" actId="1036"/>
          <ac:picMkLst>
            <pc:docMk/>
            <pc:sldMk cId="3396422946" sldId="311"/>
            <ac:picMk id="20" creationId="{52BEAF40-B94A-FA4E-4427-929F75B6FBDA}"/>
          </ac:picMkLst>
        </pc:picChg>
      </pc:sldChg>
      <pc:sldChg chg="addSp modSp new mod">
        <pc:chgData name="Gabriele Zanoletti" userId="fc6666fa-3441-4ddc-a8b9-f69fbbdf5644" providerId="ADAL" clId="{F2571258-CC26-4B12-B833-E4A17A5DE9C1}" dt="2024-01-24T10:01:00.895" v="7195" actId="5793"/>
        <pc:sldMkLst>
          <pc:docMk/>
          <pc:sldMk cId="1829445697" sldId="312"/>
        </pc:sldMkLst>
        <pc:spChg chg="mod">
          <ac:chgData name="Gabriele Zanoletti" userId="fc6666fa-3441-4ddc-a8b9-f69fbbdf5644" providerId="ADAL" clId="{F2571258-CC26-4B12-B833-E4A17A5DE9C1}" dt="2024-01-23T15:15:03.068" v="1615" actId="20577"/>
          <ac:spMkLst>
            <pc:docMk/>
            <pc:sldMk cId="1829445697" sldId="312"/>
            <ac:spMk id="2" creationId="{793736D8-6786-EB55-F087-EB850260E505}"/>
          </ac:spMkLst>
        </pc:spChg>
        <pc:spChg chg="add mod">
          <ac:chgData name="Gabriele Zanoletti" userId="fc6666fa-3441-4ddc-a8b9-f69fbbdf5644" providerId="ADAL" clId="{F2571258-CC26-4B12-B833-E4A17A5DE9C1}" dt="2024-01-24T09:59:37.445" v="7182"/>
          <ac:spMkLst>
            <pc:docMk/>
            <pc:sldMk cId="1829445697" sldId="312"/>
            <ac:spMk id="5" creationId="{CB9F662C-B761-0335-F627-7FA310D406BE}"/>
          </ac:spMkLst>
        </pc:spChg>
        <pc:spChg chg="add mod">
          <ac:chgData name="Gabriele Zanoletti" userId="fc6666fa-3441-4ddc-a8b9-f69fbbdf5644" providerId="ADAL" clId="{F2571258-CC26-4B12-B833-E4A17A5DE9C1}" dt="2024-01-24T10:01:00.895" v="7195" actId="5793"/>
          <ac:spMkLst>
            <pc:docMk/>
            <pc:sldMk cId="1829445697" sldId="312"/>
            <ac:spMk id="8" creationId="{DD7A76E7-5E98-B5DE-0283-D33AF8F5ABFF}"/>
          </ac:spMkLst>
        </pc:spChg>
        <pc:picChg chg="add mod modCrop">
          <ac:chgData name="Gabriele Zanoletti" userId="fc6666fa-3441-4ddc-a8b9-f69fbbdf5644" providerId="ADAL" clId="{F2571258-CC26-4B12-B833-E4A17A5DE9C1}" dt="2024-01-24T09:59:48.809" v="7186" actId="1076"/>
          <ac:picMkLst>
            <pc:docMk/>
            <pc:sldMk cId="1829445697" sldId="312"/>
            <ac:picMk id="6" creationId="{98E5343E-8EAB-3F9C-2395-6AE0E7D9D570}"/>
          </ac:picMkLst>
        </pc:picChg>
        <pc:picChg chg="add">
          <ac:chgData name="Gabriele Zanoletti" userId="fc6666fa-3441-4ddc-a8b9-f69fbbdf5644" providerId="ADAL" clId="{F2571258-CC26-4B12-B833-E4A17A5DE9C1}" dt="2024-01-24T09:59:37.507" v="7183"/>
          <ac:picMkLst>
            <pc:docMk/>
            <pc:sldMk cId="1829445697" sldId="312"/>
            <ac:picMk id="7" creationId="{E33D72CA-A121-A80B-DA8F-52A1AA6C39AF}"/>
          </ac:picMkLst>
        </pc:picChg>
      </pc:sldChg>
      <pc:sldChg chg="addSp modSp new mod">
        <pc:chgData name="Gabriele Zanoletti" userId="fc6666fa-3441-4ddc-a8b9-f69fbbdf5644" providerId="ADAL" clId="{F2571258-CC26-4B12-B833-E4A17A5DE9C1}" dt="2024-01-23T14:37:03.204" v="629" actId="1076"/>
        <pc:sldMkLst>
          <pc:docMk/>
          <pc:sldMk cId="4109715435" sldId="313"/>
        </pc:sldMkLst>
        <pc:picChg chg="add mod">
          <ac:chgData name="Gabriele Zanoletti" userId="fc6666fa-3441-4ddc-a8b9-f69fbbdf5644" providerId="ADAL" clId="{F2571258-CC26-4B12-B833-E4A17A5DE9C1}" dt="2024-01-23T14:37:03.204" v="629" actId="1076"/>
          <ac:picMkLst>
            <pc:docMk/>
            <pc:sldMk cId="4109715435" sldId="313"/>
            <ac:picMk id="6" creationId="{081E3E13-A1F1-4FF3-9F97-8D0431E79976}"/>
          </ac:picMkLst>
        </pc:picChg>
      </pc:sldChg>
      <pc:sldChg chg="addSp modSp new mod">
        <pc:chgData name="Gabriele Zanoletti" userId="fc6666fa-3441-4ddc-a8b9-f69fbbdf5644" providerId="ADAL" clId="{F2571258-CC26-4B12-B833-E4A17A5DE9C1}" dt="2024-01-24T11:09:54.271" v="9319" actId="20577"/>
        <pc:sldMkLst>
          <pc:docMk/>
          <pc:sldMk cId="2059814184" sldId="314"/>
        </pc:sldMkLst>
        <pc:spChg chg="mod">
          <ac:chgData name="Gabriele Zanoletti" userId="fc6666fa-3441-4ddc-a8b9-f69fbbdf5644" providerId="ADAL" clId="{F2571258-CC26-4B12-B833-E4A17A5DE9C1}" dt="2024-01-23T15:16:52.414" v="1674" actId="20577"/>
          <ac:spMkLst>
            <pc:docMk/>
            <pc:sldMk cId="2059814184" sldId="314"/>
            <ac:spMk id="2" creationId="{509CB6E0-7C4E-FA68-855F-FA3F11EF009A}"/>
          </ac:spMkLst>
        </pc:spChg>
        <pc:spChg chg="add mod">
          <ac:chgData name="Gabriele Zanoletti" userId="fc6666fa-3441-4ddc-a8b9-f69fbbdf5644" providerId="ADAL" clId="{F2571258-CC26-4B12-B833-E4A17A5DE9C1}" dt="2024-01-24T11:09:54.271" v="9319" actId="20577"/>
          <ac:spMkLst>
            <pc:docMk/>
            <pc:sldMk cId="2059814184" sldId="314"/>
            <ac:spMk id="5" creationId="{455070FB-8C32-F7F3-CE34-8A53AF8479B2}"/>
          </ac:spMkLst>
        </pc:spChg>
        <pc:picChg chg="add mod">
          <ac:chgData name="Gabriele Zanoletti" userId="fc6666fa-3441-4ddc-a8b9-f69fbbdf5644" providerId="ADAL" clId="{F2571258-CC26-4B12-B833-E4A17A5DE9C1}" dt="2024-01-24T10:50:37.420" v="8584" actId="1038"/>
          <ac:picMkLst>
            <pc:docMk/>
            <pc:sldMk cId="2059814184" sldId="314"/>
            <ac:picMk id="6" creationId="{4B972F37-FC92-BB03-CCE4-48CFD677FE9A}"/>
          </ac:picMkLst>
        </pc:picChg>
        <pc:picChg chg="add mod">
          <ac:chgData name="Gabriele Zanoletti" userId="fc6666fa-3441-4ddc-a8b9-f69fbbdf5644" providerId="ADAL" clId="{F2571258-CC26-4B12-B833-E4A17A5DE9C1}" dt="2024-01-24T10:50:11.535" v="8565" actId="1076"/>
          <ac:picMkLst>
            <pc:docMk/>
            <pc:sldMk cId="2059814184" sldId="314"/>
            <ac:picMk id="7" creationId="{167B2A6D-40F8-948F-400B-BA790A343BDB}"/>
          </ac:picMkLst>
        </pc:picChg>
      </pc:sldChg>
      <pc:sldChg chg="addSp delSp modSp new mod">
        <pc:chgData name="Gabriele Zanoletti" userId="fc6666fa-3441-4ddc-a8b9-f69fbbdf5644" providerId="ADAL" clId="{F2571258-CC26-4B12-B833-E4A17A5DE9C1}" dt="2024-01-24T10:59:33.873" v="8728" actId="1076"/>
        <pc:sldMkLst>
          <pc:docMk/>
          <pc:sldMk cId="3439177903" sldId="315"/>
        </pc:sldMkLst>
        <pc:spChg chg="mod">
          <ac:chgData name="Gabriele Zanoletti" userId="fc6666fa-3441-4ddc-a8b9-f69fbbdf5644" providerId="ADAL" clId="{F2571258-CC26-4B12-B833-E4A17A5DE9C1}" dt="2024-01-23T15:16:55.589" v="1675" actId="20577"/>
          <ac:spMkLst>
            <pc:docMk/>
            <pc:sldMk cId="3439177903" sldId="315"/>
            <ac:spMk id="2" creationId="{269EADC7-9785-5346-94A3-EAE0A512B506}"/>
          </ac:spMkLst>
        </pc:spChg>
        <pc:spChg chg="add del mod">
          <ac:chgData name="Gabriele Zanoletti" userId="fc6666fa-3441-4ddc-a8b9-f69fbbdf5644" providerId="ADAL" clId="{F2571258-CC26-4B12-B833-E4A17A5DE9C1}" dt="2024-01-24T10:55:03.060" v="8602" actId="478"/>
          <ac:spMkLst>
            <pc:docMk/>
            <pc:sldMk cId="3439177903" sldId="315"/>
            <ac:spMk id="5" creationId="{3FE6A5CD-F0FE-705A-0A93-81EB7DCD9F12}"/>
          </ac:spMkLst>
        </pc:spChg>
        <pc:spChg chg="del">
          <ac:chgData name="Gabriele Zanoletti" userId="fc6666fa-3441-4ddc-a8b9-f69fbbdf5644" providerId="ADAL" clId="{F2571258-CC26-4B12-B833-E4A17A5DE9C1}" dt="2024-01-24T10:51:26.861" v="8598" actId="478"/>
          <ac:spMkLst>
            <pc:docMk/>
            <pc:sldMk cId="3439177903" sldId="315"/>
            <ac:spMk id="7" creationId="{C4C8B730-7D2A-5B96-CC9D-40BB7627C92F}"/>
          </ac:spMkLst>
        </pc:spChg>
        <pc:spChg chg="add mod">
          <ac:chgData name="Gabriele Zanoletti" userId="fc6666fa-3441-4ddc-a8b9-f69fbbdf5644" providerId="ADAL" clId="{F2571258-CC26-4B12-B833-E4A17A5DE9C1}" dt="2024-01-24T10:59:33.873" v="8728" actId="1076"/>
          <ac:spMkLst>
            <pc:docMk/>
            <pc:sldMk cId="3439177903" sldId="315"/>
            <ac:spMk id="9" creationId="{CA8D1E0E-88C4-4524-2B2A-FAD48C3791E6}"/>
          </ac:spMkLst>
        </pc:spChg>
        <pc:picChg chg="add mod">
          <ac:chgData name="Gabriele Zanoletti" userId="fc6666fa-3441-4ddc-a8b9-f69fbbdf5644" providerId="ADAL" clId="{F2571258-CC26-4B12-B833-E4A17A5DE9C1}" dt="2024-01-24T10:59:29.928" v="8726" actId="1076"/>
          <ac:picMkLst>
            <pc:docMk/>
            <pc:sldMk cId="3439177903" sldId="315"/>
            <ac:picMk id="6" creationId="{214EBBD2-EB0F-7D0A-E235-25CCBE080207}"/>
          </ac:picMkLst>
        </pc:picChg>
      </pc:sldChg>
      <pc:sldChg chg="addSp delSp modSp new mod modCm">
        <pc:chgData name="Gabriele Zanoletti" userId="fc6666fa-3441-4ddc-a8b9-f69fbbdf5644" providerId="ADAL" clId="{F2571258-CC26-4B12-B833-E4A17A5DE9C1}" dt="2024-01-24T11:22:28.885" v="9725" actId="404"/>
        <pc:sldMkLst>
          <pc:docMk/>
          <pc:sldMk cId="2060001824" sldId="316"/>
        </pc:sldMkLst>
        <pc:spChg chg="mod">
          <ac:chgData name="Gabriele Zanoletti" userId="fc6666fa-3441-4ddc-a8b9-f69fbbdf5644" providerId="ADAL" clId="{F2571258-CC26-4B12-B833-E4A17A5DE9C1}" dt="2024-01-23T15:17:18.311" v="1708" actId="20577"/>
          <ac:spMkLst>
            <pc:docMk/>
            <pc:sldMk cId="2060001824" sldId="316"/>
            <ac:spMk id="2" creationId="{A756B1FB-9540-2596-7D4B-27C539B10990}"/>
          </ac:spMkLst>
        </pc:spChg>
        <pc:spChg chg="add mod">
          <ac:chgData name="Gabriele Zanoletti" userId="fc6666fa-3441-4ddc-a8b9-f69fbbdf5644" providerId="ADAL" clId="{F2571258-CC26-4B12-B833-E4A17A5DE9C1}" dt="2024-01-24T11:22:28.885" v="9725" actId="404"/>
          <ac:spMkLst>
            <pc:docMk/>
            <pc:sldMk cId="2060001824" sldId="316"/>
            <ac:spMk id="5" creationId="{4D8C1AFE-9FC8-D964-65F9-2D18A5E0163C}"/>
          </ac:spMkLst>
        </pc:spChg>
        <pc:picChg chg="add del mod">
          <ac:chgData name="Gabriele Zanoletti" userId="fc6666fa-3441-4ddc-a8b9-f69fbbdf5644" providerId="ADAL" clId="{F2571258-CC26-4B12-B833-E4A17A5DE9C1}" dt="2024-01-23T14:46:02.916" v="668" actId="21"/>
          <ac:picMkLst>
            <pc:docMk/>
            <pc:sldMk cId="2060001824" sldId="316"/>
            <ac:picMk id="6" creationId="{BBFA030D-017B-5F47-AC86-5F3EC5699C5E}"/>
          </ac:picMkLst>
        </pc:picChg>
        <pc:picChg chg="add mod modCrop">
          <ac:chgData name="Gabriele Zanoletti" userId="fc6666fa-3441-4ddc-a8b9-f69fbbdf5644" providerId="ADAL" clId="{F2571258-CC26-4B12-B833-E4A17A5DE9C1}" dt="2024-01-23T14:42:58.147" v="666" actId="14100"/>
          <ac:picMkLst>
            <pc:docMk/>
            <pc:sldMk cId="2060001824" sldId="316"/>
            <ac:picMk id="8" creationId="{55F14D0B-A156-44FC-A549-437B4755EDFE}"/>
          </ac:picMkLst>
        </pc:picChg>
        <pc:extLst>
          <p:ext xmlns:p="http://schemas.openxmlformats.org/presentationml/2006/main" uri="{D6D511B9-2390-475A-947B-AFAB55BFBCF1}">
            <pc226:cmChg xmlns:pc226="http://schemas.microsoft.com/office/powerpoint/2022/06/main/command" chg="">
              <pc226:chgData name="Gabriele Zanoletti" userId="fc6666fa-3441-4ddc-a8b9-f69fbbdf5644" providerId="ADAL" clId="{F2571258-CC26-4B12-B833-E4A17A5DE9C1}" dt="2024-01-24T07:49:01.924" v="3117"/>
              <pc2:cmMkLst xmlns:pc2="http://schemas.microsoft.com/office/powerpoint/2019/9/main/command">
                <pc:docMk/>
                <pc:sldMk cId="2060001824" sldId="316"/>
                <pc2:cmMk id="{EB56E472-2FD7-44A6-B634-1CE338E37EBE}"/>
              </pc2:cmMkLst>
              <pc226:cmRplyChg chg="add">
                <pc226:chgData name="Gabriele Zanoletti" userId="fc6666fa-3441-4ddc-a8b9-f69fbbdf5644" providerId="ADAL" clId="{F2571258-CC26-4B12-B833-E4A17A5DE9C1}" dt="2024-01-24T07:49:01.924" v="3117"/>
                <pc2:cmRplyMkLst xmlns:pc2="http://schemas.microsoft.com/office/powerpoint/2019/9/main/command">
                  <pc:docMk/>
                  <pc:sldMk cId="2060001824" sldId="316"/>
                  <pc2:cmMk id="{EB56E472-2FD7-44A6-B634-1CE338E37EBE}"/>
                  <pc2:cmRplyMk id="{B3DF4DA5-65E8-47E6-B3B9-64FE597D93C3}"/>
                </pc2:cmRplyMkLst>
              </pc226:cmRplyChg>
            </pc226:cmChg>
            <pc226:cmChg xmlns:pc226="http://schemas.microsoft.com/office/powerpoint/2022/06/main/command" chg="">
              <pc226:chgData name="Gabriele Zanoletti" userId="fc6666fa-3441-4ddc-a8b9-f69fbbdf5644" providerId="ADAL" clId="{F2571258-CC26-4B12-B833-E4A17A5DE9C1}" dt="2024-01-24T07:50:07.560" v="3118"/>
              <pc2:cmMkLst xmlns:pc2="http://schemas.microsoft.com/office/powerpoint/2019/9/main/command">
                <pc:docMk/>
                <pc:sldMk cId="2060001824" sldId="316"/>
                <pc2:cmMk id="{64EC8879-8C64-4200-BB54-2E6B6F14DD03}"/>
              </pc2:cmMkLst>
              <pc226:cmRplyChg chg="add">
                <pc226:chgData name="Gabriele Zanoletti" userId="fc6666fa-3441-4ddc-a8b9-f69fbbdf5644" providerId="ADAL" clId="{F2571258-CC26-4B12-B833-E4A17A5DE9C1}" dt="2024-01-24T07:50:07.560" v="3118"/>
                <pc2:cmRplyMkLst xmlns:pc2="http://schemas.microsoft.com/office/powerpoint/2019/9/main/command">
                  <pc:docMk/>
                  <pc:sldMk cId="2060001824" sldId="316"/>
                  <pc2:cmMk id="{64EC8879-8C64-4200-BB54-2E6B6F14DD03}"/>
                  <pc2:cmRplyMk id="{B28AADC6-06C5-4841-A1E0-3C2EEA1A0452}"/>
                </pc2:cmRplyMkLst>
              </pc226:cmRplyChg>
            </pc226:cmChg>
          </p:ext>
        </pc:extLst>
      </pc:sldChg>
      <pc:sldChg chg="addSp delSp modSp new mod ord">
        <pc:chgData name="Gabriele Zanoletti" userId="fc6666fa-3441-4ddc-a8b9-f69fbbdf5644" providerId="ADAL" clId="{F2571258-CC26-4B12-B833-E4A17A5DE9C1}" dt="2024-01-24T11:07:26.350" v="9227" actId="20577"/>
        <pc:sldMkLst>
          <pc:docMk/>
          <pc:sldMk cId="4110969131" sldId="317"/>
        </pc:sldMkLst>
        <pc:spChg chg="mod">
          <ac:chgData name="Gabriele Zanoletti" userId="fc6666fa-3441-4ddc-a8b9-f69fbbdf5644" providerId="ADAL" clId="{F2571258-CC26-4B12-B833-E4A17A5DE9C1}" dt="2024-01-23T15:17:30.242" v="1726" actId="20577"/>
          <ac:spMkLst>
            <pc:docMk/>
            <pc:sldMk cId="4110969131" sldId="317"/>
            <ac:spMk id="2" creationId="{A22F9CB1-AC90-8475-C8E1-97FF6580DE7E}"/>
          </ac:spMkLst>
        </pc:spChg>
        <pc:spChg chg="add mod">
          <ac:chgData name="Gabriele Zanoletti" userId="fc6666fa-3441-4ddc-a8b9-f69fbbdf5644" providerId="ADAL" clId="{F2571258-CC26-4B12-B833-E4A17A5DE9C1}" dt="2024-01-24T11:07:26.350" v="9227" actId="20577"/>
          <ac:spMkLst>
            <pc:docMk/>
            <pc:sldMk cId="4110969131" sldId="317"/>
            <ac:spMk id="5" creationId="{457659C7-3B83-6EE4-1CF7-171FEED7DAF4}"/>
          </ac:spMkLst>
        </pc:spChg>
        <pc:picChg chg="add mod">
          <ac:chgData name="Gabriele Zanoletti" userId="fc6666fa-3441-4ddc-a8b9-f69fbbdf5644" providerId="ADAL" clId="{F2571258-CC26-4B12-B833-E4A17A5DE9C1}" dt="2024-01-24T11:05:28.964" v="9144" actId="1076"/>
          <ac:picMkLst>
            <pc:docMk/>
            <pc:sldMk cId="4110969131" sldId="317"/>
            <ac:picMk id="6" creationId="{BBFA030D-017B-5F47-AC86-5F3EC5699C5E}"/>
          </ac:picMkLst>
        </pc:picChg>
        <pc:picChg chg="add del mod">
          <ac:chgData name="Gabriele Zanoletti" userId="fc6666fa-3441-4ddc-a8b9-f69fbbdf5644" providerId="ADAL" clId="{F2571258-CC26-4B12-B833-E4A17A5DE9C1}" dt="2024-01-23T14:50:42.804" v="678" actId="478"/>
          <ac:picMkLst>
            <pc:docMk/>
            <pc:sldMk cId="4110969131" sldId="317"/>
            <ac:picMk id="7" creationId="{85FF7DE4-E84D-4696-A8DC-720E48C7C718}"/>
          </ac:picMkLst>
        </pc:picChg>
      </pc:sldChg>
      <pc:sldChg chg="addSp modSp new del mod">
        <pc:chgData name="Gabriele Zanoletti" userId="fc6666fa-3441-4ddc-a8b9-f69fbbdf5644" providerId="ADAL" clId="{F2571258-CC26-4B12-B833-E4A17A5DE9C1}" dt="2024-01-23T14:52:39.790" v="696" actId="47"/>
        <pc:sldMkLst>
          <pc:docMk/>
          <pc:sldMk cId="989667037" sldId="318"/>
        </pc:sldMkLst>
        <pc:picChg chg="add mod modCrop">
          <ac:chgData name="Gabriele Zanoletti" userId="fc6666fa-3441-4ddc-a8b9-f69fbbdf5644" providerId="ADAL" clId="{F2571258-CC26-4B12-B833-E4A17A5DE9C1}" dt="2024-01-23T14:51:17.704" v="689" actId="14100"/>
          <ac:picMkLst>
            <pc:docMk/>
            <pc:sldMk cId="989667037" sldId="318"/>
            <ac:picMk id="6" creationId="{706280E7-5456-BA43-0719-118F97AE59B9}"/>
          </ac:picMkLst>
        </pc:picChg>
      </pc:sldChg>
      <pc:sldChg chg="addSp delSp modSp add mod">
        <pc:chgData name="Gabriele Zanoletti" userId="fc6666fa-3441-4ddc-a8b9-f69fbbdf5644" providerId="ADAL" clId="{F2571258-CC26-4B12-B833-E4A17A5DE9C1}" dt="2024-01-24T11:27:36.464" v="9936" actId="20577"/>
        <pc:sldMkLst>
          <pc:docMk/>
          <pc:sldMk cId="2600840893" sldId="319"/>
        </pc:sldMkLst>
        <pc:spChg chg="mod">
          <ac:chgData name="Gabriele Zanoletti" userId="fc6666fa-3441-4ddc-a8b9-f69fbbdf5644" providerId="ADAL" clId="{F2571258-CC26-4B12-B833-E4A17A5DE9C1}" dt="2024-01-23T15:17:49.897" v="1727"/>
          <ac:spMkLst>
            <pc:docMk/>
            <pc:sldMk cId="2600840893" sldId="319"/>
            <ac:spMk id="2" creationId="{16DB9D3C-9CCE-D1F9-3064-F64D8ABE9A78}"/>
          </ac:spMkLst>
        </pc:spChg>
        <pc:spChg chg="add mod">
          <ac:chgData name="Gabriele Zanoletti" userId="fc6666fa-3441-4ddc-a8b9-f69fbbdf5644" providerId="ADAL" clId="{F2571258-CC26-4B12-B833-E4A17A5DE9C1}" dt="2024-01-24T11:27:36.464" v="9936" actId="20577"/>
          <ac:spMkLst>
            <pc:docMk/>
            <pc:sldMk cId="2600840893" sldId="319"/>
            <ac:spMk id="5" creationId="{06ABB142-F7C0-6F40-75FE-F5031C064065}"/>
          </ac:spMkLst>
        </pc:spChg>
        <pc:picChg chg="del">
          <ac:chgData name="Gabriele Zanoletti" userId="fc6666fa-3441-4ddc-a8b9-f69fbbdf5644" providerId="ADAL" clId="{F2571258-CC26-4B12-B833-E4A17A5DE9C1}" dt="2024-01-23T14:51:25.246" v="691" actId="478"/>
          <ac:picMkLst>
            <pc:docMk/>
            <pc:sldMk cId="2600840893" sldId="319"/>
            <ac:picMk id="6" creationId="{706280E7-5456-BA43-0719-118F97AE59B9}"/>
          </ac:picMkLst>
        </pc:picChg>
        <pc:picChg chg="add mod">
          <ac:chgData name="Gabriele Zanoletti" userId="fc6666fa-3441-4ddc-a8b9-f69fbbdf5644" providerId="ADAL" clId="{F2571258-CC26-4B12-B833-E4A17A5DE9C1}" dt="2024-01-24T11:27:08.401" v="9912" actId="1036"/>
          <ac:picMkLst>
            <pc:docMk/>
            <pc:sldMk cId="2600840893" sldId="319"/>
            <ac:picMk id="7" creationId="{94FD2E80-92B9-3907-CBE1-85408BA99064}"/>
          </ac:picMkLst>
        </pc:picChg>
      </pc:sldChg>
      <pc:sldChg chg="addSp delSp modSp new mod">
        <pc:chgData name="Gabriele Zanoletti" userId="fc6666fa-3441-4ddc-a8b9-f69fbbdf5644" providerId="ADAL" clId="{F2571258-CC26-4B12-B833-E4A17A5DE9C1}" dt="2024-01-24T11:33:46.811" v="10110" actId="1076"/>
        <pc:sldMkLst>
          <pc:docMk/>
          <pc:sldMk cId="2371849535" sldId="320"/>
        </pc:sldMkLst>
        <pc:spChg chg="mod">
          <ac:chgData name="Gabriele Zanoletti" userId="fc6666fa-3441-4ddc-a8b9-f69fbbdf5644" providerId="ADAL" clId="{F2571258-CC26-4B12-B833-E4A17A5DE9C1}" dt="2024-01-23T15:18:33.050" v="1780" actId="20577"/>
          <ac:spMkLst>
            <pc:docMk/>
            <pc:sldMk cId="2371849535" sldId="320"/>
            <ac:spMk id="2" creationId="{5E0C03EA-E9A5-1D99-BB3A-CD23664A6BC5}"/>
          </ac:spMkLst>
        </pc:spChg>
        <pc:spChg chg="add mod">
          <ac:chgData name="Gabriele Zanoletti" userId="fc6666fa-3441-4ddc-a8b9-f69fbbdf5644" providerId="ADAL" clId="{F2571258-CC26-4B12-B833-E4A17A5DE9C1}" dt="2024-01-24T11:33:35.598" v="10105" actId="14100"/>
          <ac:spMkLst>
            <pc:docMk/>
            <pc:sldMk cId="2371849535" sldId="320"/>
            <ac:spMk id="5" creationId="{BF8C5357-5A8D-69D7-0B8F-A400C9B33D53}"/>
          </ac:spMkLst>
        </pc:spChg>
        <pc:picChg chg="add del mod modCrop">
          <ac:chgData name="Gabriele Zanoletti" userId="fc6666fa-3441-4ddc-a8b9-f69fbbdf5644" providerId="ADAL" clId="{F2571258-CC26-4B12-B833-E4A17A5DE9C1}" dt="2024-01-23T14:53:46.610" v="710" actId="478"/>
          <ac:picMkLst>
            <pc:docMk/>
            <pc:sldMk cId="2371849535" sldId="320"/>
            <ac:picMk id="6" creationId="{A155A373-45F5-E5F7-326D-1316C642325F}"/>
          </ac:picMkLst>
        </pc:picChg>
        <pc:picChg chg="add mod modCrop">
          <ac:chgData name="Gabriele Zanoletti" userId="fc6666fa-3441-4ddc-a8b9-f69fbbdf5644" providerId="ADAL" clId="{F2571258-CC26-4B12-B833-E4A17A5DE9C1}" dt="2024-01-24T11:33:46.811" v="10110" actId="1076"/>
          <ac:picMkLst>
            <pc:docMk/>
            <pc:sldMk cId="2371849535" sldId="320"/>
            <ac:picMk id="8" creationId="{AEB23DA9-9B65-F9DB-DB65-2C7B30BBB887}"/>
          </ac:picMkLst>
        </pc:picChg>
      </pc:sldChg>
      <pc:sldChg chg="modSp add mod">
        <pc:chgData name="Gabriele Zanoletti" userId="fc6666fa-3441-4ddc-a8b9-f69fbbdf5644" providerId="ADAL" clId="{F2571258-CC26-4B12-B833-E4A17A5DE9C1}" dt="2024-01-23T14:58:59.097" v="722" actId="113"/>
        <pc:sldMkLst>
          <pc:docMk/>
          <pc:sldMk cId="532413471" sldId="321"/>
        </pc:sldMkLst>
        <pc:spChg chg="mod">
          <ac:chgData name="Gabriele Zanoletti" userId="fc6666fa-3441-4ddc-a8b9-f69fbbdf5644" providerId="ADAL" clId="{F2571258-CC26-4B12-B833-E4A17A5DE9C1}" dt="2024-01-23T14:58:59.097" v="722" actId="113"/>
          <ac:spMkLst>
            <pc:docMk/>
            <pc:sldMk cId="532413471" sldId="321"/>
            <ac:spMk id="4" creationId="{1AC29BDC-7CB8-266E-07CF-D9D5D9169AC3}"/>
          </ac:spMkLst>
        </pc:spChg>
      </pc:sldChg>
      <pc:sldChg chg="modSp add mod">
        <pc:chgData name="Gabriele Zanoletti" userId="fc6666fa-3441-4ddc-a8b9-f69fbbdf5644" providerId="ADAL" clId="{F2571258-CC26-4B12-B833-E4A17A5DE9C1}" dt="2024-01-23T15:07:06.074" v="1075" actId="113"/>
        <pc:sldMkLst>
          <pc:docMk/>
          <pc:sldMk cId="902660526" sldId="322"/>
        </pc:sldMkLst>
        <pc:spChg chg="mod">
          <ac:chgData name="Gabriele Zanoletti" userId="fc6666fa-3441-4ddc-a8b9-f69fbbdf5644" providerId="ADAL" clId="{F2571258-CC26-4B12-B833-E4A17A5DE9C1}" dt="2024-01-23T15:07:06.074" v="1075" actId="113"/>
          <ac:spMkLst>
            <pc:docMk/>
            <pc:sldMk cId="902660526" sldId="322"/>
            <ac:spMk id="4" creationId="{1AC29BDC-7CB8-266E-07CF-D9D5D9169AC3}"/>
          </ac:spMkLst>
        </pc:spChg>
      </pc:sldChg>
      <pc:sldChg chg="modSp add mod">
        <pc:chgData name="Gabriele Zanoletti" userId="fc6666fa-3441-4ddc-a8b9-f69fbbdf5644" providerId="ADAL" clId="{F2571258-CC26-4B12-B833-E4A17A5DE9C1}" dt="2024-01-23T15:11:56.558" v="1361" actId="113"/>
        <pc:sldMkLst>
          <pc:docMk/>
          <pc:sldMk cId="3702300545" sldId="323"/>
        </pc:sldMkLst>
        <pc:spChg chg="mod">
          <ac:chgData name="Gabriele Zanoletti" userId="fc6666fa-3441-4ddc-a8b9-f69fbbdf5644" providerId="ADAL" clId="{F2571258-CC26-4B12-B833-E4A17A5DE9C1}" dt="2024-01-23T15:11:56.558" v="1361" actId="113"/>
          <ac:spMkLst>
            <pc:docMk/>
            <pc:sldMk cId="3702300545" sldId="323"/>
            <ac:spMk id="4" creationId="{1AC29BDC-7CB8-266E-07CF-D9D5D9169AC3}"/>
          </ac:spMkLst>
        </pc:spChg>
      </pc:sldChg>
      <pc:sldChg chg="modSp add mod">
        <pc:chgData name="Gabriele Zanoletti" userId="fc6666fa-3441-4ddc-a8b9-f69fbbdf5644" providerId="ADAL" clId="{F2571258-CC26-4B12-B833-E4A17A5DE9C1}" dt="2024-01-23T15:19:29.747" v="1783" actId="113"/>
        <pc:sldMkLst>
          <pc:docMk/>
          <pc:sldMk cId="2885120835" sldId="324"/>
        </pc:sldMkLst>
        <pc:spChg chg="mod">
          <ac:chgData name="Gabriele Zanoletti" userId="fc6666fa-3441-4ddc-a8b9-f69fbbdf5644" providerId="ADAL" clId="{F2571258-CC26-4B12-B833-E4A17A5DE9C1}" dt="2024-01-23T15:19:29.747" v="1783" actId="113"/>
          <ac:spMkLst>
            <pc:docMk/>
            <pc:sldMk cId="2885120835" sldId="324"/>
            <ac:spMk id="4" creationId="{1AC29BDC-7CB8-266E-07CF-D9D5D9169AC3}"/>
          </ac:spMkLst>
        </pc:spChg>
      </pc:sldChg>
      <pc:sldChg chg="modSp add mod">
        <pc:chgData name="Gabriele Zanoletti" userId="fc6666fa-3441-4ddc-a8b9-f69fbbdf5644" providerId="ADAL" clId="{F2571258-CC26-4B12-B833-E4A17A5DE9C1}" dt="2024-01-23T15:19:38.699" v="1786" actId="113"/>
        <pc:sldMkLst>
          <pc:docMk/>
          <pc:sldMk cId="2835239964" sldId="325"/>
        </pc:sldMkLst>
        <pc:spChg chg="mod">
          <ac:chgData name="Gabriele Zanoletti" userId="fc6666fa-3441-4ddc-a8b9-f69fbbdf5644" providerId="ADAL" clId="{F2571258-CC26-4B12-B833-E4A17A5DE9C1}" dt="2024-01-23T15:19:38.699" v="1786" actId="113"/>
          <ac:spMkLst>
            <pc:docMk/>
            <pc:sldMk cId="2835239964" sldId="325"/>
            <ac:spMk id="4" creationId="{1AC29BDC-7CB8-266E-07CF-D9D5D9169AC3}"/>
          </ac:spMkLst>
        </pc:spChg>
      </pc:sldChg>
      <pc:sldChg chg="modSp new mod">
        <pc:chgData name="Gabriele Zanoletti" userId="fc6666fa-3441-4ddc-a8b9-f69fbbdf5644" providerId="ADAL" clId="{F2571258-CC26-4B12-B833-E4A17A5DE9C1}" dt="2024-01-24T12:14:36.734" v="11101" actId="20577"/>
        <pc:sldMkLst>
          <pc:docMk/>
          <pc:sldMk cId="1343076952" sldId="326"/>
        </pc:sldMkLst>
        <pc:spChg chg="mod">
          <ac:chgData name="Gabriele Zanoletti" userId="fc6666fa-3441-4ddc-a8b9-f69fbbdf5644" providerId="ADAL" clId="{F2571258-CC26-4B12-B833-E4A17A5DE9C1}" dt="2024-01-24T12:14:36.734" v="11101" actId="20577"/>
          <ac:spMkLst>
            <pc:docMk/>
            <pc:sldMk cId="1343076952" sldId="326"/>
            <ac:spMk id="2" creationId="{145C7072-5EF5-6DF5-5FAB-D140D0531EC4}"/>
          </ac:spMkLst>
        </pc:spChg>
        <pc:spChg chg="mod">
          <ac:chgData name="Gabriele Zanoletti" userId="fc6666fa-3441-4ddc-a8b9-f69fbbdf5644" providerId="ADAL" clId="{F2571258-CC26-4B12-B833-E4A17A5DE9C1}" dt="2024-01-23T17:15:49.412" v="3073" actId="20577"/>
          <ac:spMkLst>
            <pc:docMk/>
            <pc:sldMk cId="1343076952" sldId="326"/>
            <ac:spMk id="3" creationId="{29BDDA70-D7E3-C17F-663E-2B5F6669930B}"/>
          </ac:spMkLst>
        </pc:spChg>
      </pc:sldChg>
      <pc:sldChg chg="new del">
        <pc:chgData name="Gabriele Zanoletti" userId="fc6666fa-3441-4ddc-a8b9-f69fbbdf5644" providerId="ADAL" clId="{F2571258-CC26-4B12-B833-E4A17A5DE9C1}" dt="2024-01-24T09:52:24.424" v="6784" actId="680"/>
        <pc:sldMkLst>
          <pc:docMk/>
          <pc:sldMk cId="1592627195" sldId="332"/>
        </pc:sldMkLst>
      </pc:sldChg>
    </pc:docChg>
  </pc:docChgLst>
  <pc:docChgLst>
    <pc:chgData name="Luca Ricci" userId="S::10451631@polimi.it::ee5f09d5-0832-4e68-94c9-d8bfd2ad04f0" providerId="AD" clId="Web-{FE7C741D-44D6-EDC1-2356-2BC66BDF72B9}"/>
    <pc:docChg chg="modSld">
      <pc:chgData name="Luca Ricci" userId="S::10451631@polimi.it::ee5f09d5-0832-4e68-94c9-d8bfd2ad04f0" providerId="AD" clId="Web-{FE7C741D-44D6-EDC1-2356-2BC66BDF72B9}" dt="2024-01-24T10:53:07.909" v="13"/>
      <pc:docMkLst>
        <pc:docMk/>
      </pc:docMkLst>
      <pc:sldChg chg="addSp delSp modSp">
        <pc:chgData name="Luca Ricci" userId="S::10451631@polimi.it::ee5f09d5-0832-4e68-94c9-d8bfd2ad04f0" providerId="AD" clId="Web-{FE7C741D-44D6-EDC1-2356-2BC66BDF72B9}" dt="2024-01-24T10:53:07.909" v="13"/>
        <pc:sldMkLst>
          <pc:docMk/>
          <pc:sldMk cId="4109715435" sldId="313"/>
        </pc:sldMkLst>
        <pc:picChg chg="add del mod">
          <ac:chgData name="Luca Ricci" userId="S::10451631@polimi.it::ee5f09d5-0832-4e68-94c9-d8bfd2ad04f0" providerId="AD" clId="Web-{FE7C741D-44D6-EDC1-2356-2BC66BDF72B9}" dt="2024-01-24T10:53:07.909" v="13"/>
          <ac:picMkLst>
            <pc:docMk/>
            <pc:sldMk cId="4109715435" sldId="313"/>
            <ac:picMk id="5" creationId="{4FC8F0D0-3DD3-7001-94C0-6D0D366B9894}"/>
          </ac:picMkLst>
        </pc:picChg>
      </pc:sldChg>
      <pc:sldChg chg="addSp delSp modSp">
        <pc:chgData name="Luca Ricci" userId="S::10451631@polimi.it::ee5f09d5-0832-4e68-94c9-d8bfd2ad04f0" providerId="AD" clId="Web-{FE7C741D-44D6-EDC1-2356-2BC66BDF72B9}" dt="2024-01-24T10:52:05.375" v="11" actId="20577"/>
        <pc:sldMkLst>
          <pc:docMk/>
          <pc:sldMk cId="3439177903" sldId="315"/>
        </pc:sldMkLst>
        <pc:spChg chg="mod">
          <ac:chgData name="Luca Ricci" userId="S::10451631@polimi.it::ee5f09d5-0832-4e68-94c9-d8bfd2ad04f0" providerId="AD" clId="Web-{FE7C741D-44D6-EDC1-2356-2BC66BDF72B9}" dt="2024-01-24T10:52:05.375" v="11" actId="20577"/>
          <ac:spMkLst>
            <pc:docMk/>
            <pc:sldMk cId="3439177903" sldId="315"/>
            <ac:spMk id="5" creationId="{3FE6A5CD-F0FE-705A-0A93-81EB7DCD9F12}"/>
          </ac:spMkLst>
        </pc:spChg>
        <pc:spChg chg="add">
          <ac:chgData name="Luca Ricci" userId="S::10451631@polimi.it::ee5f09d5-0832-4e68-94c9-d8bfd2ad04f0" providerId="AD" clId="Web-{FE7C741D-44D6-EDC1-2356-2BC66BDF72B9}" dt="2024-01-24T10:51:11.263" v="0"/>
          <ac:spMkLst>
            <pc:docMk/>
            <pc:sldMk cId="3439177903" sldId="315"/>
            <ac:spMk id="7" creationId="{C4C8B730-7D2A-5B96-CC9D-40BB7627C92F}"/>
          </ac:spMkLst>
        </pc:spChg>
        <pc:spChg chg="add del">
          <ac:chgData name="Luca Ricci" userId="S::10451631@polimi.it::ee5f09d5-0832-4e68-94c9-d8bfd2ad04f0" providerId="AD" clId="Web-{FE7C741D-44D6-EDC1-2356-2BC66BDF72B9}" dt="2024-01-24T10:51:17.795" v="2"/>
          <ac:spMkLst>
            <pc:docMk/>
            <pc:sldMk cId="3439177903" sldId="315"/>
            <ac:spMk id="8" creationId="{45EC5BB0-0D73-05A7-F47F-4F7C3BF4D374}"/>
          </ac:spMkLst>
        </pc:spChg>
      </pc:sldChg>
    </pc:docChg>
  </pc:docChgLst>
  <pc:docChgLst>
    <pc:chgData name="Gabriele Zanoletti" userId="fc6666fa-3441-4ddc-a8b9-f69fbbdf5644" providerId="ADAL" clId="{CBDFB5E6-1FA1-4DE7-A201-1F4BA4E764AC}"/>
    <pc:docChg chg="custSel modSld">
      <pc:chgData name="Gabriele Zanoletti" userId="fc6666fa-3441-4ddc-a8b9-f69fbbdf5644" providerId="ADAL" clId="{CBDFB5E6-1FA1-4DE7-A201-1F4BA4E764AC}" dt="2024-01-26T08:53:43.333" v="81" actId="368"/>
      <pc:docMkLst>
        <pc:docMk/>
      </pc:docMkLst>
      <pc:sldChg chg="modNotes">
        <pc:chgData name="Gabriele Zanoletti" userId="fc6666fa-3441-4ddc-a8b9-f69fbbdf5644" providerId="ADAL" clId="{CBDFB5E6-1FA1-4DE7-A201-1F4BA4E764AC}" dt="2024-01-26T08:53:43.333" v="81" actId="368"/>
        <pc:sldMkLst>
          <pc:docMk/>
          <pc:sldMk cId="895135860" sldId="257"/>
        </pc:sldMkLst>
      </pc:sldChg>
      <pc:sldChg chg="modNotes">
        <pc:chgData name="Gabriele Zanoletti" userId="fc6666fa-3441-4ddc-a8b9-f69fbbdf5644" providerId="ADAL" clId="{CBDFB5E6-1FA1-4DE7-A201-1F4BA4E764AC}" dt="2024-01-26T08:53:42.927" v="3" actId="368"/>
        <pc:sldMkLst>
          <pc:docMk/>
          <pc:sldMk cId="3601296254" sldId="258"/>
        </pc:sldMkLst>
      </pc:sldChg>
      <pc:sldChg chg="modNotes">
        <pc:chgData name="Gabriele Zanoletti" userId="fc6666fa-3441-4ddc-a8b9-f69fbbdf5644" providerId="ADAL" clId="{CBDFB5E6-1FA1-4DE7-A201-1F4BA4E764AC}" dt="2024-01-26T08:53:42.941" v="5" actId="368"/>
        <pc:sldMkLst>
          <pc:docMk/>
          <pc:sldMk cId="994454846" sldId="291"/>
        </pc:sldMkLst>
      </pc:sldChg>
      <pc:sldChg chg="modNotes">
        <pc:chgData name="Gabriele Zanoletti" userId="fc6666fa-3441-4ddc-a8b9-f69fbbdf5644" providerId="ADAL" clId="{CBDFB5E6-1FA1-4DE7-A201-1F4BA4E764AC}" dt="2024-01-26T08:53:42.957" v="7" actId="368"/>
        <pc:sldMkLst>
          <pc:docMk/>
          <pc:sldMk cId="3241623441" sldId="292"/>
        </pc:sldMkLst>
      </pc:sldChg>
      <pc:sldChg chg="modNotes">
        <pc:chgData name="Gabriele Zanoletti" userId="fc6666fa-3441-4ddc-a8b9-f69fbbdf5644" providerId="ADAL" clId="{CBDFB5E6-1FA1-4DE7-A201-1F4BA4E764AC}" dt="2024-01-26T08:53:42.969" v="9" actId="368"/>
        <pc:sldMkLst>
          <pc:docMk/>
          <pc:sldMk cId="692283471" sldId="293"/>
        </pc:sldMkLst>
      </pc:sldChg>
      <pc:sldChg chg="modNotes">
        <pc:chgData name="Gabriele Zanoletti" userId="fc6666fa-3441-4ddc-a8b9-f69fbbdf5644" providerId="ADAL" clId="{CBDFB5E6-1FA1-4DE7-A201-1F4BA4E764AC}" dt="2024-01-26T08:53:42.980" v="11" actId="368"/>
        <pc:sldMkLst>
          <pc:docMk/>
          <pc:sldMk cId="2858633819" sldId="294"/>
        </pc:sldMkLst>
      </pc:sldChg>
      <pc:sldChg chg="modNotes">
        <pc:chgData name="Gabriele Zanoletti" userId="fc6666fa-3441-4ddc-a8b9-f69fbbdf5644" providerId="ADAL" clId="{CBDFB5E6-1FA1-4DE7-A201-1F4BA4E764AC}" dt="2024-01-26T08:53:43.006" v="15" actId="368"/>
        <pc:sldMkLst>
          <pc:docMk/>
          <pc:sldMk cId="1570471128" sldId="296"/>
        </pc:sldMkLst>
      </pc:sldChg>
      <pc:sldChg chg="modNotes">
        <pc:chgData name="Gabriele Zanoletti" userId="fc6666fa-3441-4ddc-a8b9-f69fbbdf5644" providerId="ADAL" clId="{CBDFB5E6-1FA1-4DE7-A201-1F4BA4E764AC}" dt="2024-01-26T08:53:43.021" v="17" actId="368"/>
        <pc:sldMkLst>
          <pc:docMk/>
          <pc:sldMk cId="1604505303" sldId="297"/>
        </pc:sldMkLst>
      </pc:sldChg>
      <pc:sldChg chg="modNotes">
        <pc:chgData name="Gabriele Zanoletti" userId="fc6666fa-3441-4ddc-a8b9-f69fbbdf5644" providerId="ADAL" clId="{CBDFB5E6-1FA1-4DE7-A201-1F4BA4E764AC}" dt="2024-01-26T08:53:43.062" v="25" actId="368"/>
        <pc:sldMkLst>
          <pc:docMk/>
          <pc:sldMk cId="1968516981" sldId="301"/>
        </pc:sldMkLst>
      </pc:sldChg>
      <pc:sldChg chg="modNotes">
        <pc:chgData name="Gabriele Zanoletti" userId="fc6666fa-3441-4ddc-a8b9-f69fbbdf5644" providerId="ADAL" clId="{CBDFB5E6-1FA1-4DE7-A201-1F4BA4E764AC}" dt="2024-01-26T08:53:43.073" v="27" actId="368"/>
        <pc:sldMkLst>
          <pc:docMk/>
          <pc:sldMk cId="3837282433" sldId="302"/>
        </pc:sldMkLst>
      </pc:sldChg>
      <pc:sldChg chg="modNotes">
        <pc:chgData name="Gabriele Zanoletti" userId="fc6666fa-3441-4ddc-a8b9-f69fbbdf5644" providerId="ADAL" clId="{CBDFB5E6-1FA1-4DE7-A201-1F4BA4E764AC}" dt="2024-01-26T08:53:43.083" v="29" actId="368"/>
        <pc:sldMkLst>
          <pc:docMk/>
          <pc:sldMk cId="786950877" sldId="303"/>
        </pc:sldMkLst>
      </pc:sldChg>
      <pc:sldChg chg="modNotes">
        <pc:chgData name="Gabriele Zanoletti" userId="fc6666fa-3441-4ddc-a8b9-f69fbbdf5644" providerId="ADAL" clId="{CBDFB5E6-1FA1-4DE7-A201-1F4BA4E764AC}" dt="2024-01-26T08:53:43.093" v="31" actId="368"/>
        <pc:sldMkLst>
          <pc:docMk/>
          <pc:sldMk cId="4147670638" sldId="304"/>
        </pc:sldMkLst>
      </pc:sldChg>
      <pc:sldChg chg="modNotes">
        <pc:chgData name="Gabriele Zanoletti" userId="fc6666fa-3441-4ddc-a8b9-f69fbbdf5644" providerId="ADAL" clId="{CBDFB5E6-1FA1-4DE7-A201-1F4BA4E764AC}" dt="2024-01-26T08:53:43.112" v="35" actId="368"/>
        <pc:sldMkLst>
          <pc:docMk/>
          <pc:sldMk cId="2129748764" sldId="305"/>
        </pc:sldMkLst>
      </pc:sldChg>
      <pc:sldChg chg="modNotes">
        <pc:chgData name="Gabriele Zanoletti" userId="fc6666fa-3441-4ddc-a8b9-f69fbbdf5644" providerId="ADAL" clId="{CBDFB5E6-1FA1-4DE7-A201-1F4BA4E764AC}" dt="2024-01-26T08:53:43.101" v="33" actId="368"/>
        <pc:sldMkLst>
          <pc:docMk/>
          <pc:sldMk cId="4004401706" sldId="306"/>
        </pc:sldMkLst>
      </pc:sldChg>
      <pc:sldChg chg="modNotes">
        <pc:chgData name="Gabriele Zanoletti" userId="fc6666fa-3441-4ddc-a8b9-f69fbbdf5644" providerId="ADAL" clId="{CBDFB5E6-1FA1-4DE7-A201-1F4BA4E764AC}" dt="2024-01-26T08:53:43.131" v="39" actId="368"/>
        <pc:sldMkLst>
          <pc:docMk/>
          <pc:sldMk cId="3230328343" sldId="307"/>
        </pc:sldMkLst>
      </pc:sldChg>
      <pc:sldChg chg="modNotes">
        <pc:chgData name="Gabriele Zanoletti" userId="fc6666fa-3441-4ddc-a8b9-f69fbbdf5644" providerId="ADAL" clId="{CBDFB5E6-1FA1-4DE7-A201-1F4BA4E764AC}" dt="2024-01-26T08:53:43.141" v="41" actId="368"/>
        <pc:sldMkLst>
          <pc:docMk/>
          <pc:sldMk cId="3362905413" sldId="308"/>
        </pc:sldMkLst>
      </pc:sldChg>
      <pc:sldChg chg="modNotes">
        <pc:chgData name="Gabriele Zanoletti" userId="fc6666fa-3441-4ddc-a8b9-f69fbbdf5644" providerId="ADAL" clId="{CBDFB5E6-1FA1-4DE7-A201-1F4BA4E764AC}" dt="2024-01-26T08:53:43.167" v="47" actId="368"/>
        <pc:sldMkLst>
          <pc:docMk/>
          <pc:sldMk cId="3056404990" sldId="310"/>
        </pc:sldMkLst>
      </pc:sldChg>
      <pc:sldChg chg="modNotes">
        <pc:chgData name="Gabriele Zanoletti" userId="fc6666fa-3441-4ddc-a8b9-f69fbbdf5644" providerId="ADAL" clId="{CBDFB5E6-1FA1-4DE7-A201-1F4BA4E764AC}" dt="2024-01-26T08:53:43.254" v="63" actId="368"/>
        <pc:sldMkLst>
          <pc:docMk/>
          <pc:sldMk cId="2059814184" sldId="314"/>
        </pc:sldMkLst>
      </pc:sldChg>
      <pc:sldChg chg="modNotes">
        <pc:chgData name="Gabriele Zanoletti" userId="fc6666fa-3441-4ddc-a8b9-f69fbbdf5644" providerId="ADAL" clId="{CBDFB5E6-1FA1-4DE7-A201-1F4BA4E764AC}" dt="2024-01-26T08:53:43.263" v="65" actId="368"/>
        <pc:sldMkLst>
          <pc:docMk/>
          <pc:sldMk cId="3439177903" sldId="315"/>
        </pc:sldMkLst>
      </pc:sldChg>
      <pc:sldChg chg="modNotes">
        <pc:chgData name="Gabriele Zanoletti" userId="fc6666fa-3441-4ddc-a8b9-f69fbbdf5644" providerId="ADAL" clId="{CBDFB5E6-1FA1-4DE7-A201-1F4BA4E764AC}" dt="2024-01-26T08:53:43.282" v="69" actId="368"/>
        <pc:sldMkLst>
          <pc:docMk/>
          <pc:sldMk cId="2060001824" sldId="316"/>
        </pc:sldMkLst>
      </pc:sldChg>
      <pc:sldChg chg="modNotes">
        <pc:chgData name="Gabriele Zanoletti" userId="fc6666fa-3441-4ddc-a8b9-f69fbbdf5644" providerId="ADAL" clId="{CBDFB5E6-1FA1-4DE7-A201-1F4BA4E764AC}" dt="2024-01-26T08:53:43.272" v="67" actId="368"/>
        <pc:sldMkLst>
          <pc:docMk/>
          <pc:sldMk cId="4110969131" sldId="317"/>
        </pc:sldMkLst>
      </pc:sldChg>
      <pc:sldChg chg="modNotes">
        <pc:chgData name="Gabriele Zanoletti" userId="fc6666fa-3441-4ddc-a8b9-f69fbbdf5644" providerId="ADAL" clId="{CBDFB5E6-1FA1-4DE7-A201-1F4BA4E764AC}" dt="2024-01-26T08:53:43.290" v="71" actId="368"/>
        <pc:sldMkLst>
          <pc:docMk/>
          <pc:sldMk cId="2600840893" sldId="319"/>
        </pc:sldMkLst>
      </pc:sldChg>
      <pc:sldChg chg="modNotes">
        <pc:chgData name="Gabriele Zanoletti" userId="fc6666fa-3441-4ddc-a8b9-f69fbbdf5644" providerId="ADAL" clId="{CBDFB5E6-1FA1-4DE7-A201-1F4BA4E764AC}" dt="2024-01-26T08:53:43.300" v="73" actId="368"/>
        <pc:sldMkLst>
          <pc:docMk/>
          <pc:sldMk cId="2371849535" sldId="320"/>
        </pc:sldMkLst>
      </pc:sldChg>
      <pc:sldChg chg="modNotes">
        <pc:chgData name="Gabriele Zanoletti" userId="fc6666fa-3441-4ddc-a8b9-f69fbbdf5644" providerId="ADAL" clId="{CBDFB5E6-1FA1-4DE7-A201-1F4BA4E764AC}" dt="2024-01-26T08:53:43.036" v="19" actId="368"/>
        <pc:sldMkLst>
          <pc:docMk/>
          <pc:sldMk cId="902660526" sldId="322"/>
        </pc:sldMkLst>
      </pc:sldChg>
      <pc:sldChg chg="modNotes">
        <pc:chgData name="Gabriele Zanoletti" userId="fc6666fa-3441-4ddc-a8b9-f69fbbdf5644" providerId="ADAL" clId="{CBDFB5E6-1FA1-4DE7-A201-1F4BA4E764AC}" dt="2024-01-26T08:53:43.120" v="37" actId="368"/>
        <pc:sldMkLst>
          <pc:docMk/>
          <pc:sldMk cId="3702300545" sldId="323"/>
        </pc:sldMkLst>
      </pc:sldChg>
      <pc:sldChg chg="modNotes">
        <pc:chgData name="Gabriele Zanoletti" userId="fc6666fa-3441-4ddc-a8b9-f69fbbdf5644" providerId="ADAL" clId="{CBDFB5E6-1FA1-4DE7-A201-1F4BA4E764AC}" dt="2024-01-26T08:53:43.244" v="61" actId="368"/>
        <pc:sldMkLst>
          <pc:docMk/>
          <pc:sldMk cId="2885120835" sldId="324"/>
        </pc:sldMkLst>
      </pc:sldChg>
      <pc:sldChg chg="modNotes">
        <pc:chgData name="Gabriele Zanoletti" userId="fc6666fa-3441-4ddc-a8b9-f69fbbdf5644" providerId="ADAL" clId="{CBDFB5E6-1FA1-4DE7-A201-1F4BA4E764AC}" dt="2024-01-26T08:53:43.308" v="75" actId="368"/>
        <pc:sldMkLst>
          <pc:docMk/>
          <pc:sldMk cId="2835239964" sldId="325"/>
        </pc:sldMkLst>
      </pc:sldChg>
      <pc:sldChg chg="modNotes">
        <pc:chgData name="Gabriele Zanoletti" userId="fc6666fa-3441-4ddc-a8b9-f69fbbdf5644" providerId="ADAL" clId="{CBDFB5E6-1FA1-4DE7-A201-1F4BA4E764AC}" dt="2024-01-26T08:53:43.317" v="77" actId="368"/>
        <pc:sldMkLst>
          <pc:docMk/>
          <pc:sldMk cId="1343076952" sldId="326"/>
        </pc:sldMkLst>
      </pc:sldChg>
      <pc:sldChg chg="modNotes">
        <pc:chgData name="Gabriele Zanoletti" userId="fc6666fa-3441-4ddc-a8b9-f69fbbdf5644" providerId="ADAL" clId="{CBDFB5E6-1FA1-4DE7-A201-1F4BA4E764AC}" dt="2024-01-26T08:53:42.990" v="13" actId="368"/>
        <pc:sldMkLst>
          <pc:docMk/>
          <pc:sldMk cId="897985928" sldId="332"/>
        </pc:sldMkLst>
      </pc:sldChg>
      <pc:sldChg chg="modNotes">
        <pc:chgData name="Gabriele Zanoletti" userId="fc6666fa-3441-4ddc-a8b9-f69fbbdf5644" providerId="ADAL" clId="{CBDFB5E6-1FA1-4DE7-A201-1F4BA4E764AC}" dt="2024-01-26T08:53:43.045" v="21" actId="368"/>
        <pc:sldMkLst>
          <pc:docMk/>
          <pc:sldMk cId="1171648230" sldId="333"/>
        </pc:sldMkLst>
      </pc:sldChg>
      <pc:sldChg chg="modNotes">
        <pc:chgData name="Gabriele Zanoletti" userId="fc6666fa-3441-4ddc-a8b9-f69fbbdf5644" providerId="ADAL" clId="{CBDFB5E6-1FA1-4DE7-A201-1F4BA4E764AC}" dt="2024-01-26T08:53:43.326" v="79" actId="368"/>
        <pc:sldMkLst>
          <pc:docMk/>
          <pc:sldMk cId="1998290092" sldId="334"/>
        </pc:sldMkLst>
      </pc:sldChg>
      <pc:sldChg chg="modNotes">
        <pc:chgData name="Gabriele Zanoletti" userId="fc6666fa-3441-4ddc-a8b9-f69fbbdf5644" providerId="ADAL" clId="{CBDFB5E6-1FA1-4DE7-A201-1F4BA4E764AC}" dt="2024-01-26T08:53:43.150" v="43" actId="368"/>
        <pc:sldMkLst>
          <pc:docMk/>
          <pc:sldMk cId="2832553207" sldId="335"/>
        </pc:sldMkLst>
      </pc:sldChg>
      <pc:sldChg chg="modNotes">
        <pc:chgData name="Gabriele Zanoletti" userId="fc6666fa-3441-4ddc-a8b9-f69fbbdf5644" providerId="ADAL" clId="{CBDFB5E6-1FA1-4DE7-A201-1F4BA4E764AC}" dt="2024-01-26T08:53:43.177" v="49" actId="368"/>
        <pc:sldMkLst>
          <pc:docMk/>
          <pc:sldMk cId="349029065" sldId="336"/>
        </pc:sldMkLst>
      </pc:sldChg>
      <pc:sldChg chg="modNotes">
        <pc:chgData name="Gabriele Zanoletti" userId="fc6666fa-3441-4ddc-a8b9-f69fbbdf5644" providerId="ADAL" clId="{CBDFB5E6-1FA1-4DE7-A201-1F4BA4E764AC}" dt="2024-01-26T08:53:43.159" v="45" actId="368"/>
        <pc:sldMkLst>
          <pc:docMk/>
          <pc:sldMk cId="3040321551" sldId="337"/>
        </pc:sldMkLst>
      </pc:sldChg>
      <pc:sldChg chg="modNotes">
        <pc:chgData name="Gabriele Zanoletti" userId="fc6666fa-3441-4ddc-a8b9-f69fbbdf5644" providerId="ADAL" clId="{CBDFB5E6-1FA1-4DE7-A201-1F4BA4E764AC}" dt="2024-01-26T08:53:43.231" v="59" actId="368"/>
        <pc:sldMkLst>
          <pc:docMk/>
          <pc:sldMk cId="3682762768" sldId="338"/>
        </pc:sldMkLst>
      </pc:sldChg>
      <pc:sldChg chg="modNotes">
        <pc:chgData name="Gabriele Zanoletti" userId="fc6666fa-3441-4ddc-a8b9-f69fbbdf5644" providerId="ADAL" clId="{CBDFB5E6-1FA1-4DE7-A201-1F4BA4E764AC}" dt="2024-01-26T08:53:43.197" v="53" actId="368"/>
        <pc:sldMkLst>
          <pc:docMk/>
          <pc:sldMk cId="1233919258" sldId="340"/>
        </pc:sldMkLst>
      </pc:sldChg>
      <pc:sldChg chg="modNotes">
        <pc:chgData name="Gabriele Zanoletti" userId="fc6666fa-3441-4ddc-a8b9-f69fbbdf5644" providerId="ADAL" clId="{CBDFB5E6-1FA1-4DE7-A201-1F4BA4E764AC}" dt="2024-01-26T08:53:43.208" v="55" actId="368"/>
        <pc:sldMkLst>
          <pc:docMk/>
          <pc:sldMk cId="2889248117" sldId="341"/>
        </pc:sldMkLst>
      </pc:sldChg>
      <pc:sldChg chg="modNotes">
        <pc:chgData name="Gabriele Zanoletti" userId="fc6666fa-3441-4ddc-a8b9-f69fbbdf5644" providerId="ADAL" clId="{CBDFB5E6-1FA1-4DE7-A201-1F4BA4E764AC}" dt="2024-01-26T08:53:43.186" v="51" actId="368"/>
        <pc:sldMkLst>
          <pc:docMk/>
          <pc:sldMk cId="782384403" sldId="345"/>
        </pc:sldMkLst>
      </pc:sldChg>
      <pc:sldChg chg="modNotes">
        <pc:chgData name="Gabriele Zanoletti" userId="fc6666fa-3441-4ddc-a8b9-f69fbbdf5644" providerId="ADAL" clId="{CBDFB5E6-1FA1-4DE7-A201-1F4BA4E764AC}" dt="2024-01-26T08:53:43.054" v="23" actId="368"/>
        <pc:sldMkLst>
          <pc:docMk/>
          <pc:sldMk cId="977858740" sldId="346"/>
        </pc:sldMkLst>
      </pc:sldChg>
      <pc:sldChg chg="modNotes">
        <pc:chgData name="Gabriele Zanoletti" userId="fc6666fa-3441-4ddc-a8b9-f69fbbdf5644" providerId="ADAL" clId="{CBDFB5E6-1FA1-4DE7-A201-1F4BA4E764AC}" dt="2024-01-26T08:53:42.919" v="1" actId="368"/>
        <pc:sldMkLst>
          <pc:docMk/>
          <pc:sldMk cId="252918147" sldId="347"/>
        </pc:sldMkLst>
      </pc:sldChg>
      <pc:sldChg chg="modNotes">
        <pc:chgData name="Gabriele Zanoletti" userId="fc6666fa-3441-4ddc-a8b9-f69fbbdf5644" providerId="ADAL" clId="{CBDFB5E6-1FA1-4DE7-A201-1F4BA4E764AC}" dt="2024-01-26T08:53:43.216" v="57" actId="368"/>
        <pc:sldMkLst>
          <pc:docMk/>
          <pc:sldMk cId="3489691726" sldId="348"/>
        </pc:sldMkLst>
      </pc:sldChg>
    </pc:docChg>
  </pc:docChgLst>
  <pc:docChgLst>
    <pc:chgData name="Gabriele Be'" userId="S::10455288@polimi.it::7bf626d5-9dae-4fe7-9b21-8b110831bcf6" providerId="AD" clId="Web-{204C86BC-B0AA-4E0F-0F98-058FC30E4937}"/>
    <pc:docChg chg="modSld">
      <pc:chgData name="Gabriele Be'" userId="S::10455288@polimi.it::7bf626d5-9dae-4fe7-9b21-8b110831bcf6" providerId="AD" clId="Web-{204C86BC-B0AA-4E0F-0F98-058FC30E4937}" dt="2024-03-26T17:42:40.856" v="0"/>
      <pc:docMkLst>
        <pc:docMk/>
      </pc:docMkLst>
      <pc:sldChg chg="delSp">
        <pc:chgData name="Gabriele Be'" userId="S::10455288@polimi.it::7bf626d5-9dae-4fe7-9b21-8b110831bcf6" providerId="AD" clId="Web-{204C86BC-B0AA-4E0F-0F98-058FC30E4937}" dt="2024-03-26T17:42:40.856" v="0"/>
        <pc:sldMkLst>
          <pc:docMk/>
          <pc:sldMk cId="252918147" sldId="347"/>
        </pc:sldMkLst>
        <pc:spChg chg="del">
          <ac:chgData name="Gabriele Be'" userId="S::10455288@polimi.it::7bf626d5-9dae-4fe7-9b21-8b110831bcf6" providerId="AD" clId="Web-{204C86BC-B0AA-4E0F-0F98-058FC30E4937}" dt="2024-03-26T17:42:40.856" v="0"/>
          <ac:spMkLst>
            <pc:docMk/>
            <pc:sldMk cId="252918147" sldId="347"/>
            <ac:spMk id="6" creationId="{B603842A-1E04-C52E-1031-7D30535E2256}"/>
          </ac:spMkLst>
        </pc:spChg>
      </pc:sldChg>
    </pc:docChg>
  </pc:docChgLst>
  <pc:docChgLst>
    <pc:chgData name="Alessia Ceroni" userId="59238df8-040f-40e7-81e6-4838df61c6e5" providerId="ADAL" clId="{CC0633A6-D8FA-2343-AEB0-3F442ECCECB1}"/>
    <pc:docChg chg="undo redo custSel modSld">
      <pc:chgData name="Alessia Ceroni" userId="59238df8-040f-40e7-81e6-4838df61c6e5" providerId="ADAL" clId="{CC0633A6-D8FA-2343-AEB0-3F442ECCECB1}" dt="2024-10-17T12:58:39.196" v="24" actId="1076"/>
      <pc:docMkLst>
        <pc:docMk/>
      </pc:docMkLst>
      <pc:sldChg chg="addSp delSp modSp mod">
        <pc:chgData name="Alessia Ceroni" userId="59238df8-040f-40e7-81e6-4838df61c6e5" providerId="ADAL" clId="{CC0633A6-D8FA-2343-AEB0-3F442ECCECB1}" dt="2024-10-17T12:58:39.196" v="24" actId="1076"/>
        <pc:sldMkLst>
          <pc:docMk/>
          <pc:sldMk cId="2750387320" sldId="348"/>
        </pc:sldMkLst>
        <pc:spChg chg="add del mod">
          <ac:chgData name="Alessia Ceroni" userId="59238df8-040f-40e7-81e6-4838df61c6e5" providerId="ADAL" clId="{CC0633A6-D8FA-2343-AEB0-3F442ECCECB1}" dt="2024-10-17T12:56:11.692" v="15"/>
          <ac:spMkLst>
            <pc:docMk/>
            <pc:sldMk cId="2750387320" sldId="348"/>
            <ac:spMk id="2" creationId="{99B44097-C3E5-91E2-CCA1-DA1E07DC3D06}"/>
          </ac:spMkLst>
        </pc:spChg>
        <pc:spChg chg="del mod">
          <ac:chgData name="Alessia Ceroni" userId="59238df8-040f-40e7-81e6-4838df61c6e5" providerId="ADAL" clId="{CC0633A6-D8FA-2343-AEB0-3F442ECCECB1}" dt="2024-10-17T12:56:00.442" v="8" actId="478"/>
          <ac:spMkLst>
            <pc:docMk/>
            <pc:sldMk cId="2750387320" sldId="348"/>
            <ac:spMk id="3" creationId="{535B4869-A11A-6EBD-5587-4662C40C674D}"/>
          </ac:spMkLst>
        </pc:spChg>
        <pc:spChg chg="add del mod">
          <ac:chgData name="Alessia Ceroni" userId="59238df8-040f-40e7-81e6-4838df61c6e5" providerId="ADAL" clId="{CC0633A6-D8FA-2343-AEB0-3F442ECCECB1}" dt="2024-10-17T12:58:39.196" v="24" actId="1076"/>
          <ac:spMkLst>
            <pc:docMk/>
            <pc:sldMk cId="2750387320" sldId="348"/>
            <ac:spMk id="3" creationId="{F08127E2-11A3-6033-1925-C0879852E81E}"/>
          </ac:spMkLst>
        </pc:spChg>
        <pc:spChg chg="mod">
          <ac:chgData name="Alessia Ceroni" userId="59238df8-040f-40e7-81e6-4838df61c6e5" providerId="ADAL" clId="{CC0633A6-D8FA-2343-AEB0-3F442ECCECB1}" dt="2024-10-17T12:58:21.294" v="18" actId="20577"/>
          <ac:spMkLst>
            <pc:docMk/>
            <pc:sldMk cId="2750387320" sldId="348"/>
            <ac:spMk id="4" creationId="{5305BB04-765F-64F5-5C21-9E446AA76387}"/>
          </ac:spMkLst>
        </pc:spChg>
        <pc:picChg chg="add mod">
          <ac:chgData name="Alessia Ceroni" userId="59238df8-040f-40e7-81e6-4838df61c6e5" providerId="ADAL" clId="{CC0633A6-D8FA-2343-AEB0-3F442ECCECB1}" dt="2024-10-17T12:55:56.823" v="6"/>
          <ac:picMkLst>
            <pc:docMk/>
            <pc:sldMk cId="2750387320" sldId="348"/>
            <ac:picMk id="7" creationId="{BA13A2B0-70C9-F956-FC0E-B251C234C686}"/>
          </ac:picMkLst>
        </pc:picChg>
        <pc:picChg chg="add del mod">
          <ac:chgData name="Alessia Ceroni" userId="59238df8-040f-40e7-81e6-4838df61c6e5" providerId="ADAL" clId="{CC0633A6-D8FA-2343-AEB0-3F442ECCECB1}" dt="2024-10-17T12:58:24.821" v="20" actId="478"/>
          <ac:picMkLst>
            <pc:docMk/>
            <pc:sldMk cId="2750387320" sldId="348"/>
            <ac:picMk id="8" creationId="{4880D04D-C53C-DB7E-46A0-13FC0D21590C}"/>
          </ac:picMkLst>
        </pc:picChg>
      </pc:sldChg>
    </pc:docChg>
  </pc:docChgLst>
  <pc:docChgLst>
    <pc:chgData name="Alessia Ceroni" userId="59238df8-040f-40e7-81e6-4838df61c6e5" providerId="ADAL" clId="{920A2CF8-CBEA-4541-8085-AEE8B0022FA5}"/>
    <pc:docChg chg="undo custSel modSld">
      <pc:chgData name="Alessia Ceroni" userId="59238df8-040f-40e7-81e6-4838df61c6e5" providerId="ADAL" clId="{920A2CF8-CBEA-4541-8085-AEE8B0022FA5}" dt="2023-12-18T16:37:26.365" v="635" actId="20577"/>
      <pc:docMkLst>
        <pc:docMk/>
      </pc:docMkLst>
      <pc:sldChg chg="modSp mod">
        <pc:chgData name="Alessia Ceroni" userId="59238df8-040f-40e7-81e6-4838df61c6e5" providerId="ADAL" clId="{920A2CF8-CBEA-4541-8085-AEE8B0022FA5}" dt="2023-12-18T16:37:26.365" v="635" actId="20577"/>
        <pc:sldMkLst>
          <pc:docMk/>
          <pc:sldMk cId="2523226674" sldId="282"/>
        </pc:sldMkLst>
        <pc:spChg chg="mod">
          <ac:chgData name="Alessia Ceroni" userId="59238df8-040f-40e7-81e6-4838df61c6e5" providerId="ADAL" clId="{920A2CF8-CBEA-4541-8085-AEE8B0022FA5}" dt="2023-12-18T16:37:16.064" v="627" actId="255"/>
          <ac:spMkLst>
            <pc:docMk/>
            <pc:sldMk cId="2523226674" sldId="282"/>
            <ac:spMk id="2" creationId="{8386E694-5EF7-1618-ACF4-DC987BEF617D}"/>
          </ac:spMkLst>
        </pc:spChg>
        <pc:spChg chg="mod">
          <ac:chgData name="Alessia Ceroni" userId="59238df8-040f-40e7-81e6-4838df61c6e5" providerId="ADAL" clId="{920A2CF8-CBEA-4541-8085-AEE8B0022FA5}" dt="2023-12-18T16:37:26.365" v="635" actId="20577"/>
          <ac:spMkLst>
            <pc:docMk/>
            <pc:sldMk cId="2523226674" sldId="282"/>
            <ac:spMk id="3" creationId="{01D288B1-15CE-766C-62CA-8CB12FDF2102}"/>
          </ac:spMkLst>
        </pc:spChg>
      </pc:sldChg>
    </pc:docChg>
  </pc:docChgLst>
  <pc:docChgLst>
    <pc:chgData name="Luca Ricci" userId="S::10451631@polimi.it::ee5f09d5-0832-4e68-94c9-d8bfd2ad04f0" providerId="AD" clId="Web-{01963A96-2E06-E2CD-1350-082BA7D4CF1B}"/>
    <pc:docChg chg="modSld">
      <pc:chgData name="Luca Ricci" userId="S::10451631@polimi.it::ee5f09d5-0832-4e68-94c9-d8bfd2ad04f0" providerId="AD" clId="Web-{01963A96-2E06-E2CD-1350-082BA7D4CF1B}" dt="2024-01-24T10:24:38.882" v="320"/>
      <pc:docMkLst>
        <pc:docMk/>
      </pc:docMkLst>
      <pc:sldChg chg="addSp delSp modSp modNotes">
        <pc:chgData name="Luca Ricci" userId="S::10451631@polimi.it::ee5f09d5-0832-4e68-94c9-d8bfd2ad04f0" providerId="AD" clId="Web-{01963A96-2E06-E2CD-1350-082BA7D4CF1B}" dt="2024-01-24T10:24:38.882" v="320"/>
        <pc:sldMkLst>
          <pc:docMk/>
          <pc:sldMk cId="4109715435" sldId="313"/>
        </pc:sldMkLst>
        <pc:picChg chg="add del mod">
          <ac:chgData name="Luca Ricci" userId="S::10451631@polimi.it::ee5f09d5-0832-4e68-94c9-d8bfd2ad04f0" providerId="AD" clId="Web-{01963A96-2E06-E2CD-1350-082BA7D4CF1B}" dt="2024-01-24T10:24:38.882" v="320"/>
          <ac:picMkLst>
            <pc:docMk/>
            <pc:sldMk cId="4109715435" sldId="313"/>
            <ac:picMk id="5" creationId="{CA4B9B14-FA33-53DB-09E4-CEE578977A56}"/>
          </ac:picMkLst>
        </pc:picChg>
        <pc:picChg chg="del">
          <ac:chgData name="Luca Ricci" userId="S::10451631@polimi.it::ee5f09d5-0832-4e68-94c9-d8bfd2ad04f0" providerId="AD" clId="Web-{01963A96-2E06-E2CD-1350-082BA7D4CF1B}" dt="2024-01-24T10:21:46.517" v="318"/>
          <ac:picMkLst>
            <pc:docMk/>
            <pc:sldMk cId="4109715435" sldId="313"/>
            <ac:picMk id="6" creationId="{081E3E13-A1F1-4FF3-9F97-8D0431E79976}"/>
          </ac:picMkLst>
        </pc:picChg>
      </pc:sldChg>
    </pc:docChg>
  </pc:docChgLst>
  <pc:docChgLst>
    <pc:chgData name="Luca Ricci" userId="S::10451631@polimi.it::ee5f09d5-0832-4e68-94c9-d8bfd2ad04f0" providerId="AD" clId="Web-{B2D310EA-72CF-4690-94EE-78BFEA809EFD}"/>
    <pc:docChg chg="modSld">
      <pc:chgData name="Luca Ricci" userId="S::10451631@polimi.it::ee5f09d5-0832-4e68-94c9-d8bfd2ad04f0" providerId="AD" clId="Web-{B2D310EA-72CF-4690-94EE-78BFEA809EFD}" dt="2024-01-23T15:58:01.521" v="949" actId="20577"/>
      <pc:docMkLst>
        <pc:docMk/>
      </pc:docMkLst>
      <pc:sldChg chg="modSp">
        <pc:chgData name="Luca Ricci" userId="S::10451631@polimi.it::ee5f09d5-0832-4e68-94c9-d8bfd2ad04f0" providerId="AD" clId="Web-{B2D310EA-72CF-4690-94EE-78BFEA809EFD}" dt="2024-01-23T15:26:33.096" v="66" actId="20577"/>
        <pc:sldMkLst>
          <pc:docMk/>
          <pc:sldMk cId="994454846" sldId="291"/>
        </pc:sldMkLst>
        <pc:spChg chg="mod">
          <ac:chgData name="Luca Ricci" userId="S::10451631@polimi.it::ee5f09d5-0832-4e68-94c9-d8bfd2ad04f0" providerId="AD" clId="Web-{B2D310EA-72CF-4690-94EE-78BFEA809EFD}" dt="2024-01-23T15:26:33.096" v="66" actId="20577"/>
          <ac:spMkLst>
            <pc:docMk/>
            <pc:sldMk cId="994454846" sldId="291"/>
            <ac:spMk id="9" creationId="{384C8E91-B72A-D715-878D-3115E7D21AE9}"/>
          </ac:spMkLst>
        </pc:spChg>
      </pc:sldChg>
      <pc:sldChg chg="addSp delSp modSp mod modClrScheme chgLayout">
        <pc:chgData name="Luca Ricci" userId="S::10451631@polimi.it::ee5f09d5-0832-4e68-94c9-d8bfd2ad04f0" providerId="AD" clId="Web-{B2D310EA-72CF-4690-94EE-78BFEA809EFD}" dt="2024-01-23T15:58:01.521" v="949" actId="20577"/>
        <pc:sldMkLst>
          <pc:docMk/>
          <pc:sldMk cId="4109715435" sldId="313"/>
        </pc:sldMkLst>
        <pc:spChg chg="mod ord">
          <ac:chgData name="Luca Ricci" userId="S::10451631@polimi.it::ee5f09d5-0832-4e68-94c9-d8bfd2ad04f0" providerId="AD" clId="Web-{B2D310EA-72CF-4690-94EE-78BFEA809EFD}" dt="2024-01-23T15:41:51.589" v="722" actId="20577"/>
          <ac:spMkLst>
            <pc:docMk/>
            <pc:sldMk cId="4109715435" sldId="313"/>
            <ac:spMk id="2" creationId="{2764E89C-42F0-7F7D-800A-DA392F66BC91}"/>
          </ac:spMkLst>
        </pc:spChg>
        <pc:spChg chg="mod ord">
          <ac:chgData name="Luca Ricci" userId="S::10451631@polimi.it::ee5f09d5-0832-4e68-94c9-d8bfd2ad04f0" providerId="AD" clId="Web-{B2D310EA-72CF-4690-94EE-78BFEA809EFD}" dt="2024-01-23T15:29:45.773" v="89"/>
          <ac:spMkLst>
            <pc:docMk/>
            <pc:sldMk cId="4109715435" sldId="313"/>
            <ac:spMk id="3" creationId="{937AAAB0-FB21-FB0E-A628-9C20C23B6347}"/>
          </ac:spMkLst>
        </pc:spChg>
        <pc:spChg chg="mod ord">
          <ac:chgData name="Luca Ricci" userId="S::10451631@polimi.it::ee5f09d5-0832-4e68-94c9-d8bfd2ad04f0" providerId="AD" clId="Web-{B2D310EA-72CF-4690-94EE-78BFEA809EFD}" dt="2024-01-23T15:29:45.773" v="89"/>
          <ac:spMkLst>
            <pc:docMk/>
            <pc:sldMk cId="4109715435" sldId="313"/>
            <ac:spMk id="4" creationId="{AAB1B8BC-4F92-6038-D555-1AD1EDEF431A}"/>
          </ac:spMkLst>
        </pc:spChg>
        <pc:spChg chg="add del mod ord">
          <ac:chgData name="Luca Ricci" userId="S::10451631@polimi.it::ee5f09d5-0832-4e68-94c9-d8bfd2ad04f0" providerId="AD" clId="Web-{B2D310EA-72CF-4690-94EE-78BFEA809EFD}" dt="2024-01-23T15:30:00.117" v="92"/>
          <ac:spMkLst>
            <pc:docMk/>
            <pc:sldMk cId="4109715435" sldId="313"/>
            <ac:spMk id="5" creationId="{42712514-1EB7-83FB-F854-2424E1C5F6FC}"/>
          </ac:spMkLst>
        </pc:spChg>
        <pc:spChg chg="add mod ord">
          <ac:chgData name="Luca Ricci" userId="S::10451631@polimi.it::ee5f09d5-0832-4e68-94c9-d8bfd2ad04f0" providerId="AD" clId="Web-{B2D310EA-72CF-4690-94EE-78BFEA809EFD}" dt="2024-01-23T15:58:01.521" v="949" actId="20577"/>
          <ac:spMkLst>
            <pc:docMk/>
            <pc:sldMk cId="4109715435" sldId="313"/>
            <ac:spMk id="7" creationId="{8ED043E4-ED32-1DA9-33FC-E4B34D009A79}"/>
          </ac:spMkLst>
        </pc:spChg>
        <pc:picChg chg="add del mod">
          <ac:chgData name="Luca Ricci" userId="S::10451631@polimi.it::ee5f09d5-0832-4e68-94c9-d8bfd2ad04f0" providerId="AD" clId="Web-{B2D310EA-72CF-4690-94EE-78BFEA809EFD}" dt="2024-01-23T15:50:29.821" v="912" actId="1076"/>
          <ac:picMkLst>
            <pc:docMk/>
            <pc:sldMk cId="4109715435" sldId="313"/>
            <ac:picMk id="6" creationId="{081E3E13-A1F1-4FF3-9F97-8D0431E79976}"/>
          </ac:picMkLst>
        </pc:picChg>
      </pc:sldChg>
    </pc:docChg>
  </pc:docChgLst>
  <pc:docChgLst>
    <pc:chgData name="Gabriele Zanoletti" userId="fc6666fa-3441-4ddc-a8b9-f69fbbdf5644" providerId="ADAL" clId="{FF896906-D997-4B2C-9772-B85E3A21DE27}"/>
    <pc:docChg chg="undo custSel delSld modSld sldOrd addSection modSection">
      <pc:chgData name="Gabriele Zanoletti" userId="fc6666fa-3441-4ddc-a8b9-f69fbbdf5644" providerId="ADAL" clId="{FF896906-D997-4B2C-9772-B85E3A21DE27}" dt="2024-01-25T12:01:57.728" v="4336" actId="47"/>
      <pc:docMkLst>
        <pc:docMk/>
      </pc:docMkLst>
      <pc:sldChg chg="modNotesTx">
        <pc:chgData name="Gabriele Zanoletti" userId="fc6666fa-3441-4ddc-a8b9-f69fbbdf5644" providerId="ADAL" clId="{FF896906-D997-4B2C-9772-B85E3A21DE27}" dt="2024-01-25T10:59:38.081" v="2267" actId="313"/>
        <pc:sldMkLst>
          <pc:docMk/>
          <pc:sldMk cId="3601296254" sldId="258"/>
        </pc:sldMkLst>
      </pc:sldChg>
      <pc:sldChg chg="modNotesTx">
        <pc:chgData name="Gabriele Zanoletti" userId="fc6666fa-3441-4ddc-a8b9-f69fbbdf5644" providerId="ADAL" clId="{FF896906-D997-4B2C-9772-B85E3A21DE27}" dt="2024-01-25T11:01:31.654" v="2285" actId="20577"/>
        <pc:sldMkLst>
          <pc:docMk/>
          <pc:sldMk cId="994454846" sldId="291"/>
        </pc:sldMkLst>
      </pc:sldChg>
      <pc:sldChg chg="modNotesTx">
        <pc:chgData name="Gabriele Zanoletti" userId="fc6666fa-3441-4ddc-a8b9-f69fbbdf5644" providerId="ADAL" clId="{FF896906-D997-4B2C-9772-B85E3A21DE27}" dt="2024-01-25T11:02:11.017" v="2321" actId="20577"/>
        <pc:sldMkLst>
          <pc:docMk/>
          <pc:sldMk cId="3241623441" sldId="292"/>
        </pc:sldMkLst>
      </pc:sldChg>
      <pc:sldChg chg="modNotesTx">
        <pc:chgData name="Gabriele Zanoletti" userId="fc6666fa-3441-4ddc-a8b9-f69fbbdf5644" providerId="ADAL" clId="{FF896906-D997-4B2C-9772-B85E3A21DE27}" dt="2024-01-25T11:05:01.062" v="2333" actId="20577"/>
        <pc:sldMkLst>
          <pc:docMk/>
          <pc:sldMk cId="692283471" sldId="293"/>
        </pc:sldMkLst>
      </pc:sldChg>
      <pc:sldChg chg="modNotesTx">
        <pc:chgData name="Gabriele Zanoletti" userId="fc6666fa-3441-4ddc-a8b9-f69fbbdf5644" providerId="ADAL" clId="{FF896906-D997-4B2C-9772-B85E3A21DE27}" dt="2024-01-25T11:07:37.562" v="2341" actId="20577"/>
        <pc:sldMkLst>
          <pc:docMk/>
          <pc:sldMk cId="2858633819" sldId="294"/>
        </pc:sldMkLst>
      </pc:sldChg>
      <pc:sldChg chg="modSp mod modNotesTx">
        <pc:chgData name="Gabriele Zanoletti" userId="fc6666fa-3441-4ddc-a8b9-f69fbbdf5644" providerId="ADAL" clId="{FF896906-D997-4B2C-9772-B85E3A21DE27}" dt="2024-01-25T11:13:08.246" v="2449" actId="20577"/>
        <pc:sldMkLst>
          <pc:docMk/>
          <pc:sldMk cId="1570471128" sldId="296"/>
        </pc:sldMkLst>
        <pc:spChg chg="mod">
          <ac:chgData name="Gabriele Zanoletti" userId="fc6666fa-3441-4ddc-a8b9-f69fbbdf5644" providerId="ADAL" clId="{FF896906-D997-4B2C-9772-B85E3A21DE27}" dt="2024-01-25T11:13:08.246" v="2449" actId="20577"/>
          <ac:spMkLst>
            <pc:docMk/>
            <pc:sldMk cId="1570471128" sldId="296"/>
            <ac:spMk id="2" creationId="{51BBF078-C8A6-B19B-5A86-1388E178168E}"/>
          </ac:spMkLst>
        </pc:spChg>
      </pc:sldChg>
      <pc:sldChg chg="modSp mod modNotesTx">
        <pc:chgData name="Gabriele Zanoletti" userId="fc6666fa-3441-4ddc-a8b9-f69fbbdf5644" providerId="ADAL" clId="{FF896906-D997-4B2C-9772-B85E3A21DE27}" dt="2024-01-25T11:13:11.865" v="2455" actId="20577"/>
        <pc:sldMkLst>
          <pc:docMk/>
          <pc:sldMk cId="1604505303" sldId="297"/>
        </pc:sldMkLst>
        <pc:spChg chg="mod">
          <ac:chgData name="Gabriele Zanoletti" userId="fc6666fa-3441-4ddc-a8b9-f69fbbdf5644" providerId="ADAL" clId="{FF896906-D997-4B2C-9772-B85E3A21DE27}" dt="2024-01-25T11:13:11.865" v="2455" actId="20577"/>
          <ac:spMkLst>
            <pc:docMk/>
            <pc:sldMk cId="1604505303" sldId="297"/>
            <ac:spMk id="2" creationId="{51BBF078-C8A6-B19B-5A86-1388E178168E}"/>
          </ac:spMkLst>
        </pc:spChg>
      </pc:sldChg>
      <pc:sldChg chg="modNotesTx">
        <pc:chgData name="Gabriele Zanoletti" userId="fc6666fa-3441-4ddc-a8b9-f69fbbdf5644" providerId="ADAL" clId="{FF896906-D997-4B2C-9772-B85E3A21DE27}" dt="2024-01-25T11:21:43.063" v="2623" actId="20577"/>
        <pc:sldMkLst>
          <pc:docMk/>
          <pc:sldMk cId="1968516981" sldId="301"/>
        </pc:sldMkLst>
      </pc:sldChg>
      <pc:sldChg chg="modSp">
        <pc:chgData name="Gabriele Zanoletti" userId="fc6666fa-3441-4ddc-a8b9-f69fbbdf5644" providerId="ADAL" clId="{FF896906-D997-4B2C-9772-B85E3A21DE27}" dt="2024-01-25T11:23:48.317" v="2624" actId="14826"/>
        <pc:sldMkLst>
          <pc:docMk/>
          <pc:sldMk cId="3837282433" sldId="302"/>
        </pc:sldMkLst>
        <pc:picChg chg="mod">
          <ac:chgData name="Gabriele Zanoletti" userId="fc6666fa-3441-4ddc-a8b9-f69fbbdf5644" providerId="ADAL" clId="{FF896906-D997-4B2C-9772-B85E3A21DE27}" dt="2024-01-25T11:23:48.317" v="2624" actId="14826"/>
          <ac:picMkLst>
            <pc:docMk/>
            <pc:sldMk cId="3837282433" sldId="302"/>
            <ac:picMk id="8" creationId="{0275A399-5A21-F73B-9407-2CA0146F7624}"/>
          </ac:picMkLst>
        </pc:picChg>
      </pc:sldChg>
      <pc:sldChg chg="modSp mod modNotesTx">
        <pc:chgData name="Gabriele Zanoletti" userId="fc6666fa-3441-4ddc-a8b9-f69fbbdf5644" providerId="ADAL" clId="{FF896906-D997-4B2C-9772-B85E3A21DE27}" dt="2024-01-25T11:26:00.998" v="2761" actId="20577"/>
        <pc:sldMkLst>
          <pc:docMk/>
          <pc:sldMk cId="4147670638" sldId="304"/>
        </pc:sldMkLst>
        <pc:spChg chg="mod">
          <ac:chgData name="Gabriele Zanoletti" userId="fc6666fa-3441-4ddc-a8b9-f69fbbdf5644" providerId="ADAL" clId="{FF896906-D997-4B2C-9772-B85E3A21DE27}" dt="2024-01-25T11:25:26.698" v="2651" actId="20577"/>
          <ac:spMkLst>
            <pc:docMk/>
            <pc:sldMk cId="4147670638" sldId="304"/>
            <ac:spMk id="6" creationId="{8CC18997-6459-6455-C20C-C4A81EB8C7CF}"/>
          </ac:spMkLst>
        </pc:spChg>
      </pc:sldChg>
      <pc:sldChg chg="modNotesTx">
        <pc:chgData name="Gabriele Zanoletti" userId="fc6666fa-3441-4ddc-a8b9-f69fbbdf5644" providerId="ADAL" clId="{FF896906-D997-4B2C-9772-B85E3A21DE27}" dt="2024-01-25T11:27:30.966" v="2812" actId="20577"/>
        <pc:sldMkLst>
          <pc:docMk/>
          <pc:sldMk cId="4004401706" sldId="306"/>
        </pc:sldMkLst>
      </pc:sldChg>
      <pc:sldChg chg="modSp modNotesTx">
        <pc:chgData name="Gabriele Zanoletti" userId="fc6666fa-3441-4ddc-a8b9-f69fbbdf5644" providerId="ADAL" clId="{FF896906-D997-4B2C-9772-B85E3A21DE27}" dt="2024-01-25T11:29:43.790" v="2875" actId="20577"/>
        <pc:sldMkLst>
          <pc:docMk/>
          <pc:sldMk cId="3230328343" sldId="307"/>
        </pc:sldMkLst>
        <pc:picChg chg="mod">
          <ac:chgData name="Gabriele Zanoletti" userId="fc6666fa-3441-4ddc-a8b9-f69fbbdf5644" providerId="ADAL" clId="{FF896906-D997-4B2C-9772-B85E3A21DE27}" dt="2024-01-25T09:37:28.161" v="0" actId="14826"/>
          <ac:picMkLst>
            <pc:docMk/>
            <pc:sldMk cId="3230328343" sldId="307"/>
            <ac:picMk id="6" creationId="{9F48A76D-807C-C4A1-0F15-F6A6A11713ED}"/>
          </ac:picMkLst>
        </pc:picChg>
      </pc:sldChg>
      <pc:sldChg chg="modNotesTx">
        <pc:chgData name="Gabriele Zanoletti" userId="fc6666fa-3441-4ddc-a8b9-f69fbbdf5644" providerId="ADAL" clId="{FF896906-D997-4B2C-9772-B85E3A21DE27}" dt="2024-01-25T11:30:10.906" v="2897" actId="20577"/>
        <pc:sldMkLst>
          <pc:docMk/>
          <pc:sldMk cId="3362905413" sldId="308"/>
        </pc:sldMkLst>
      </pc:sldChg>
      <pc:sldChg chg="modNotesTx">
        <pc:chgData name="Gabriele Zanoletti" userId="fc6666fa-3441-4ddc-a8b9-f69fbbdf5644" providerId="ADAL" clId="{FF896906-D997-4B2C-9772-B85E3A21DE27}" dt="2024-01-25T11:34:51.199" v="3073" actId="20577"/>
        <pc:sldMkLst>
          <pc:docMk/>
          <pc:sldMk cId="3056404990" sldId="310"/>
        </pc:sldMkLst>
      </pc:sldChg>
      <pc:sldChg chg="modSp mod modNotesTx">
        <pc:chgData name="Gabriele Zanoletti" userId="fc6666fa-3441-4ddc-a8b9-f69fbbdf5644" providerId="ADAL" clId="{FF896906-D997-4B2C-9772-B85E3A21DE27}" dt="2024-01-25T11:49:25.149" v="3894" actId="20577"/>
        <pc:sldMkLst>
          <pc:docMk/>
          <pc:sldMk cId="2059814184" sldId="314"/>
        </pc:sldMkLst>
        <pc:spChg chg="mod">
          <ac:chgData name="Gabriele Zanoletti" userId="fc6666fa-3441-4ddc-a8b9-f69fbbdf5644" providerId="ADAL" clId="{FF896906-D997-4B2C-9772-B85E3A21DE27}" dt="2024-01-25T11:46:22.897" v="3644" actId="113"/>
          <ac:spMkLst>
            <pc:docMk/>
            <pc:sldMk cId="2059814184" sldId="314"/>
            <ac:spMk id="8" creationId="{84C0628F-958C-CDC1-DBF7-C63F98DAF699}"/>
          </ac:spMkLst>
        </pc:spChg>
      </pc:sldChg>
      <pc:sldChg chg="modNotesTx">
        <pc:chgData name="Gabriele Zanoletti" userId="fc6666fa-3441-4ddc-a8b9-f69fbbdf5644" providerId="ADAL" clId="{FF896906-D997-4B2C-9772-B85E3A21DE27}" dt="2024-01-25T11:55:20.280" v="4250" actId="20577"/>
        <pc:sldMkLst>
          <pc:docMk/>
          <pc:sldMk cId="2060001824" sldId="316"/>
        </pc:sldMkLst>
      </pc:sldChg>
      <pc:sldChg chg="modNotesTx">
        <pc:chgData name="Gabriele Zanoletti" userId="fc6666fa-3441-4ddc-a8b9-f69fbbdf5644" providerId="ADAL" clId="{FF896906-D997-4B2C-9772-B85E3A21DE27}" dt="2024-01-25T11:54:18.193" v="4174" actId="20577"/>
        <pc:sldMkLst>
          <pc:docMk/>
          <pc:sldMk cId="4110969131" sldId="317"/>
        </pc:sldMkLst>
      </pc:sldChg>
      <pc:sldChg chg="modNotesTx">
        <pc:chgData name="Gabriele Zanoletti" userId="fc6666fa-3441-4ddc-a8b9-f69fbbdf5644" providerId="ADAL" clId="{FF896906-D997-4B2C-9772-B85E3A21DE27}" dt="2024-01-25T11:55:48.282" v="4255" actId="20577"/>
        <pc:sldMkLst>
          <pc:docMk/>
          <pc:sldMk cId="2600840893" sldId="319"/>
        </pc:sldMkLst>
      </pc:sldChg>
      <pc:sldChg chg="modNotesTx">
        <pc:chgData name="Gabriele Zanoletti" userId="fc6666fa-3441-4ddc-a8b9-f69fbbdf5644" providerId="ADAL" clId="{FF896906-D997-4B2C-9772-B85E3A21DE27}" dt="2024-01-25T12:00:35.540" v="4331" actId="20577"/>
        <pc:sldMkLst>
          <pc:docMk/>
          <pc:sldMk cId="2371849535" sldId="320"/>
        </pc:sldMkLst>
      </pc:sldChg>
      <pc:sldChg chg="modNotesTx">
        <pc:chgData name="Gabriele Zanoletti" userId="fc6666fa-3441-4ddc-a8b9-f69fbbdf5644" providerId="ADAL" clId="{FF896906-D997-4B2C-9772-B85E3A21DE27}" dt="2024-01-25T11:21:10.080" v="2604" actId="20577"/>
        <pc:sldMkLst>
          <pc:docMk/>
          <pc:sldMk cId="3702300545" sldId="323"/>
        </pc:sldMkLst>
      </pc:sldChg>
      <pc:sldChg chg="modNotesTx">
        <pc:chgData name="Gabriele Zanoletti" userId="fc6666fa-3441-4ddc-a8b9-f69fbbdf5644" providerId="ADAL" clId="{FF896906-D997-4B2C-9772-B85E3A21DE27}" dt="2024-01-25T12:01:46.162" v="4334" actId="20577"/>
        <pc:sldMkLst>
          <pc:docMk/>
          <pc:sldMk cId="1343076952" sldId="326"/>
        </pc:sldMkLst>
      </pc:sldChg>
      <pc:sldChg chg="modSp mod modNotesTx">
        <pc:chgData name="Gabriele Zanoletti" userId="fc6666fa-3441-4ddc-a8b9-f69fbbdf5644" providerId="ADAL" clId="{FF896906-D997-4B2C-9772-B85E3A21DE27}" dt="2024-01-25T11:10:19.081" v="2370" actId="20577"/>
        <pc:sldMkLst>
          <pc:docMk/>
          <pc:sldMk cId="897985928" sldId="332"/>
        </pc:sldMkLst>
        <pc:spChg chg="mod">
          <ac:chgData name="Gabriele Zanoletti" userId="fc6666fa-3441-4ddc-a8b9-f69fbbdf5644" providerId="ADAL" clId="{FF896906-D997-4B2C-9772-B85E3A21DE27}" dt="2024-01-25T11:09:21.271" v="2350" actId="20577"/>
          <ac:spMkLst>
            <pc:docMk/>
            <pc:sldMk cId="897985928" sldId="332"/>
            <ac:spMk id="3" creationId="{ECF25438-A5BE-19F8-650F-EE51DE5BF1C6}"/>
          </ac:spMkLst>
        </pc:spChg>
      </pc:sldChg>
      <pc:sldChg chg="modNotesTx">
        <pc:chgData name="Gabriele Zanoletti" userId="fc6666fa-3441-4ddc-a8b9-f69fbbdf5644" providerId="ADAL" clId="{FF896906-D997-4B2C-9772-B85E3A21DE27}" dt="2024-01-25T11:18:32.671" v="2524" actId="20577"/>
        <pc:sldMkLst>
          <pc:docMk/>
          <pc:sldMk cId="1171648230" sldId="333"/>
        </pc:sldMkLst>
      </pc:sldChg>
      <pc:sldChg chg="modNotesTx">
        <pc:chgData name="Gabriele Zanoletti" userId="fc6666fa-3441-4ddc-a8b9-f69fbbdf5644" providerId="ADAL" clId="{FF896906-D997-4B2C-9772-B85E3A21DE27}" dt="2024-01-25T11:31:46.487" v="2943" actId="20577"/>
        <pc:sldMkLst>
          <pc:docMk/>
          <pc:sldMk cId="2832553207" sldId="335"/>
        </pc:sldMkLst>
      </pc:sldChg>
      <pc:sldChg chg="modNotesTx">
        <pc:chgData name="Gabriele Zanoletti" userId="fc6666fa-3441-4ddc-a8b9-f69fbbdf5644" providerId="ADAL" clId="{FF896906-D997-4B2C-9772-B85E3A21DE27}" dt="2024-01-25T11:37:18.404" v="3178" actId="20577"/>
        <pc:sldMkLst>
          <pc:docMk/>
          <pc:sldMk cId="349029065" sldId="336"/>
        </pc:sldMkLst>
      </pc:sldChg>
      <pc:sldChg chg="modSp mod modNotesTx">
        <pc:chgData name="Gabriele Zanoletti" userId="fc6666fa-3441-4ddc-a8b9-f69fbbdf5644" providerId="ADAL" clId="{FF896906-D997-4B2C-9772-B85E3A21DE27}" dt="2024-01-25T11:34:36.035" v="3068" actId="20577"/>
        <pc:sldMkLst>
          <pc:docMk/>
          <pc:sldMk cId="3040321551" sldId="337"/>
        </pc:sldMkLst>
        <pc:spChg chg="mod">
          <ac:chgData name="Gabriele Zanoletti" userId="fc6666fa-3441-4ddc-a8b9-f69fbbdf5644" providerId="ADAL" clId="{FF896906-D997-4B2C-9772-B85E3A21DE27}" dt="2024-01-25T11:34:36.035" v="3068" actId="20577"/>
          <ac:spMkLst>
            <pc:docMk/>
            <pc:sldMk cId="3040321551" sldId="337"/>
            <ac:spMk id="5" creationId="{E2FA6CCD-7EDD-B4B4-61D0-2CF69F2DC992}"/>
          </ac:spMkLst>
        </pc:spChg>
      </pc:sldChg>
      <pc:sldChg chg="modNotesTx">
        <pc:chgData name="Gabriele Zanoletti" userId="fc6666fa-3441-4ddc-a8b9-f69fbbdf5644" providerId="ADAL" clId="{FF896906-D997-4B2C-9772-B85E3A21DE27}" dt="2024-01-25T11:45:37.972" v="3614" actId="20577"/>
        <pc:sldMkLst>
          <pc:docMk/>
          <pc:sldMk cId="3682762768" sldId="338"/>
        </pc:sldMkLst>
      </pc:sldChg>
      <pc:sldChg chg="modNotesTx">
        <pc:chgData name="Gabriele Zanoletti" userId="fc6666fa-3441-4ddc-a8b9-f69fbbdf5644" providerId="ADAL" clId="{FF896906-D997-4B2C-9772-B85E3A21DE27}" dt="2024-01-25T11:39:56.296" v="3239" actId="20577"/>
        <pc:sldMkLst>
          <pc:docMk/>
          <pc:sldMk cId="1233919258" sldId="340"/>
        </pc:sldMkLst>
      </pc:sldChg>
      <pc:sldChg chg="modNotesTx">
        <pc:chgData name="Gabriele Zanoletti" userId="fc6666fa-3441-4ddc-a8b9-f69fbbdf5644" providerId="ADAL" clId="{FF896906-D997-4B2C-9772-B85E3A21DE27}" dt="2024-01-25T11:42:41.425" v="3453" actId="20577"/>
        <pc:sldMkLst>
          <pc:docMk/>
          <pc:sldMk cId="2889248117" sldId="341"/>
        </pc:sldMkLst>
      </pc:sldChg>
      <pc:sldChg chg="del ord">
        <pc:chgData name="Gabriele Zanoletti" userId="fc6666fa-3441-4ddc-a8b9-f69fbbdf5644" providerId="ADAL" clId="{FF896906-D997-4B2C-9772-B85E3A21DE27}" dt="2024-01-25T12:01:56.614" v="4335" actId="47"/>
        <pc:sldMkLst>
          <pc:docMk/>
          <pc:sldMk cId="3557329851" sldId="343"/>
        </pc:sldMkLst>
      </pc:sldChg>
      <pc:sldChg chg="del ord">
        <pc:chgData name="Gabriele Zanoletti" userId="fc6666fa-3441-4ddc-a8b9-f69fbbdf5644" providerId="ADAL" clId="{FF896906-D997-4B2C-9772-B85E3A21DE27}" dt="2024-01-25T12:01:57.728" v="4336" actId="47"/>
        <pc:sldMkLst>
          <pc:docMk/>
          <pc:sldMk cId="556406102" sldId="344"/>
        </pc:sldMkLst>
      </pc:sldChg>
      <pc:sldChg chg="modNotesTx">
        <pc:chgData name="Gabriele Zanoletti" userId="fc6666fa-3441-4ddc-a8b9-f69fbbdf5644" providerId="ADAL" clId="{FF896906-D997-4B2C-9772-B85E3A21DE27}" dt="2024-01-25T11:39:09.072" v="3190" actId="20577"/>
        <pc:sldMkLst>
          <pc:docMk/>
          <pc:sldMk cId="782384403" sldId="345"/>
        </pc:sldMkLst>
      </pc:sldChg>
      <pc:sldChg chg="modNotesTx">
        <pc:chgData name="Gabriele Zanoletti" userId="fc6666fa-3441-4ddc-a8b9-f69fbbdf5644" providerId="ADAL" clId="{FF896906-D997-4B2C-9772-B85E3A21DE27}" dt="2024-01-25T11:19:21.462" v="2531" actId="20577"/>
        <pc:sldMkLst>
          <pc:docMk/>
          <pc:sldMk cId="977858740" sldId="346"/>
        </pc:sldMkLst>
      </pc:sldChg>
      <pc:sldChg chg="modNotesTx">
        <pc:chgData name="Gabriele Zanoletti" userId="fc6666fa-3441-4ddc-a8b9-f69fbbdf5644" providerId="ADAL" clId="{FF896906-D997-4B2C-9772-B85E3A21DE27}" dt="2024-01-25T10:57:48.821" v="2244" actId="20577"/>
        <pc:sldMkLst>
          <pc:docMk/>
          <pc:sldMk cId="252918147" sldId="347"/>
        </pc:sldMkLst>
      </pc:sldChg>
      <pc:sldChg chg="modSp mod modNotesTx">
        <pc:chgData name="Gabriele Zanoletti" userId="fc6666fa-3441-4ddc-a8b9-f69fbbdf5644" providerId="ADAL" clId="{FF896906-D997-4B2C-9772-B85E3A21DE27}" dt="2024-01-25T09:51:00.578" v="1375" actId="20577"/>
        <pc:sldMkLst>
          <pc:docMk/>
          <pc:sldMk cId="3489691726" sldId="348"/>
        </pc:sldMkLst>
        <pc:spChg chg="mod">
          <ac:chgData name="Gabriele Zanoletti" userId="fc6666fa-3441-4ddc-a8b9-f69fbbdf5644" providerId="ADAL" clId="{FF896906-D997-4B2C-9772-B85E3A21DE27}" dt="2024-01-25T09:48:08.841" v="875" actId="14100"/>
          <ac:spMkLst>
            <pc:docMk/>
            <pc:sldMk cId="3489691726" sldId="348"/>
            <ac:spMk id="6" creationId="{91623543-6B41-2D96-D1AA-92E18BFE0BFF}"/>
          </ac:spMkLst>
        </pc:spChg>
        <pc:picChg chg="mod">
          <ac:chgData name="Gabriele Zanoletti" userId="fc6666fa-3441-4ddc-a8b9-f69fbbdf5644" providerId="ADAL" clId="{FF896906-D997-4B2C-9772-B85E3A21DE27}" dt="2024-01-25T09:48:27.387" v="902" actId="1037"/>
          <ac:picMkLst>
            <pc:docMk/>
            <pc:sldMk cId="3489691726" sldId="348"/>
            <ac:picMk id="7" creationId="{BF47B201-4C7A-808B-4502-11BCAE8039BE}"/>
          </ac:picMkLst>
        </pc:picChg>
      </pc:sldChg>
    </pc:docChg>
  </pc:docChgLst>
  <pc:docChgLst>
    <pc:chgData name="Michele Rocco" userId="b98ebe7a-7641-4b10-bb82-27245654a50a" providerId="ADAL" clId="{0D83CF57-C9B6-4044-A52F-C1CAB1FC6A96}"/>
    <pc:docChg chg="undo custSel addSld modSld">
      <pc:chgData name="Michele Rocco" userId="b98ebe7a-7641-4b10-bb82-27245654a50a" providerId="ADAL" clId="{0D83CF57-C9B6-4044-A52F-C1CAB1FC6A96}" dt="2023-12-18T17:35:05.639" v="287" actId="20577"/>
      <pc:docMkLst>
        <pc:docMk/>
      </pc:docMkLst>
      <pc:sldChg chg="modSp mod">
        <pc:chgData name="Michele Rocco" userId="b98ebe7a-7641-4b10-bb82-27245654a50a" providerId="ADAL" clId="{0D83CF57-C9B6-4044-A52F-C1CAB1FC6A96}" dt="2023-12-18T17:35:05.639" v="287" actId="20577"/>
        <pc:sldMkLst>
          <pc:docMk/>
          <pc:sldMk cId="3601296254" sldId="258"/>
        </pc:sldMkLst>
        <pc:spChg chg="mod">
          <ac:chgData name="Michele Rocco" userId="b98ebe7a-7641-4b10-bb82-27245654a50a" providerId="ADAL" clId="{0D83CF57-C9B6-4044-A52F-C1CAB1FC6A96}" dt="2023-12-18T17:35:05.639" v="287" actId="20577"/>
          <ac:spMkLst>
            <pc:docMk/>
            <pc:sldMk cId="3601296254" sldId="258"/>
            <ac:spMk id="4" creationId="{1AC29BDC-7CB8-266E-07CF-D9D5D9169AC3}"/>
          </ac:spMkLst>
        </pc:spChg>
      </pc:sldChg>
      <pc:sldChg chg="addSp delSp modSp mod">
        <pc:chgData name="Michele Rocco" userId="b98ebe7a-7641-4b10-bb82-27245654a50a" providerId="ADAL" clId="{0D83CF57-C9B6-4044-A52F-C1CAB1FC6A96}" dt="2023-12-18T17:27:53.621" v="233" actId="478"/>
        <pc:sldMkLst>
          <pc:docMk/>
          <pc:sldMk cId="2523226674" sldId="282"/>
        </pc:sldMkLst>
        <pc:graphicFrameChg chg="add del mod">
          <ac:chgData name="Michele Rocco" userId="b98ebe7a-7641-4b10-bb82-27245654a50a" providerId="ADAL" clId="{0D83CF57-C9B6-4044-A52F-C1CAB1FC6A96}" dt="2023-12-18T17:27:53.621" v="233" actId="478"/>
          <ac:graphicFrameMkLst>
            <pc:docMk/>
            <pc:sldMk cId="2523226674" sldId="282"/>
            <ac:graphicFrameMk id="6" creationId="{FC0D6606-7954-0FEB-72E6-2166F378BAA1}"/>
          </ac:graphicFrameMkLst>
        </pc:graphicFrameChg>
      </pc:sldChg>
      <pc:sldChg chg="addSp delSp modSp new mod modClrScheme chgLayout">
        <pc:chgData name="Michele Rocco" userId="b98ebe7a-7641-4b10-bb82-27245654a50a" providerId="ADAL" clId="{0D83CF57-C9B6-4044-A52F-C1CAB1FC6A96}" dt="2023-12-18T17:30:40.913" v="283" actId="20577"/>
        <pc:sldMkLst>
          <pc:docMk/>
          <pc:sldMk cId="4187071354" sldId="287"/>
        </pc:sldMkLst>
        <pc:spChg chg="del mod ord">
          <ac:chgData name="Michele Rocco" userId="b98ebe7a-7641-4b10-bb82-27245654a50a" providerId="ADAL" clId="{0D83CF57-C9B6-4044-A52F-C1CAB1FC6A96}" dt="2023-12-18T15:41:48.072" v="1" actId="700"/>
          <ac:spMkLst>
            <pc:docMk/>
            <pc:sldMk cId="4187071354" sldId="287"/>
            <ac:spMk id="2" creationId="{87FB6796-05B4-7052-F8B0-29BA2576858F}"/>
          </ac:spMkLst>
        </pc:spChg>
        <pc:spChg chg="del">
          <ac:chgData name="Michele Rocco" userId="b98ebe7a-7641-4b10-bb82-27245654a50a" providerId="ADAL" clId="{0D83CF57-C9B6-4044-A52F-C1CAB1FC6A96}" dt="2023-12-18T15:41:48.072" v="1" actId="700"/>
          <ac:spMkLst>
            <pc:docMk/>
            <pc:sldMk cId="4187071354" sldId="287"/>
            <ac:spMk id="3" creationId="{FB7DF140-14FD-F261-21B0-9DDD57A54BD9}"/>
          </ac:spMkLst>
        </pc:spChg>
        <pc:spChg chg="del mod ord">
          <ac:chgData name="Michele Rocco" userId="b98ebe7a-7641-4b10-bb82-27245654a50a" providerId="ADAL" clId="{0D83CF57-C9B6-4044-A52F-C1CAB1FC6A96}" dt="2023-12-18T15:41:48.072" v="1" actId="700"/>
          <ac:spMkLst>
            <pc:docMk/>
            <pc:sldMk cId="4187071354" sldId="287"/>
            <ac:spMk id="4" creationId="{42EADF34-C923-74F8-07D7-1B38227EE704}"/>
          </ac:spMkLst>
        </pc:spChg>
        <pc:spChg chg="mod ord">
          <ac:chgData name="Michele Rocco" userId="b98ebe7a-7641-4b10-bb82-27245654a50a" providerId="ADAL" clId="{0D83CF57-C9B6-4044-A52F-C1CAB1FC6A96}" dt="2023-12-18T15:41:48.072" v="1" actId="700"/>
          <ac:spMkLst>
            <pc:docMk/>
            <pc:sldMk cId="4187071354" sldId="287"/>
            <ac:spMk id="5" creationId="{85E8FC01-C88D-1C46-58C5-5698342860A0}"/>
          </ac:spMkLst>
        </pc:spChg>
        <pc:spChg chg="mod ord">
          <ac:chgData name="Michele Rocco" userId="b98ebe7a-7641-4b10-bb82-27245654a50a" providerId="ADAL" clId="{0D83CF57-C9B6-4044-A52F-C1CAB1FC6A96}" dt="2023-12-18T15:41:48.072" v="1" actId="700"/>
          <ac:spMkLst>
            <pc:docMk/>
            <pc:sldMk cId="4187071354" sldId="287"/>
            <ac:spMk id="6" creationId="{F740E32E-2968-89FA-D189-C114885040CF}"/>
          </ac:spMkLst>
        </pc:spChg>
        <pc:spChg chg="add mod ord">
          <ac:chgData name="Michele Rocco" userId="b98ebe7a-7641-4b10-bb82-27245654a50a" providerId="ADAL" clId="{0D83CF57-C9B6-4044-A52F-C1CAB1FC6A96}" dt="2023-12-18T15:45:53.834" v="208" actId="5793"/>
          <ac:spMkLst>
            <pc:docMk/>
            <pc:sldMk cId="4187071354" sldId="287"/>
            <ac:spMk id="7" creationId="{1831B4C8-BE7C-5A59-D3B4-3B0DC386F8C3}"/>
          </ac:spMkLst>
        </pc:spChg>
        <pc:spChg chg="add del mod ord">
          <ac:chgData name="Michele Rocco" userId="b98ebe7a-7641-4b10-bb82-27245654a50a" providerId="ADAL" clId="{0D83CF57-C9B6-4044-A52F-C1CAB1FC6A96}" dt="2023-12-18T15:42:09.266" v="21" actId="931"/>
          <ac:spMkLst>
            <pc:docMk/>
            <pc:sldMk cId="4187071354" sldId="287"/>
            <ac:spMk id="8" creationId="{EC8D793D-9799-0F4B-13FA-02EF60891B12}"/>
          </ac:spMkLst>
        </pc:spChg>
        <pc:spChg chg="add mod">
          <ac:chgData name="Michele Rocco" userId="b98ebe7a-7641-4b10-bb82-27245654a50a" providerId="ADAL" clId="{0D83CF57-C9B6-4044-A52F-C1CAB1FC6A96}" dt="2023-12-18T17:30:40.913" v="283" actId="20577"/>
          <ac:spMkLst>
            <pc:docMk/>
            <pc:sldMk cId="4187071354" sldId="287"/>
            <ac:spMk id="11" creationId="{6D47CCCD-B115-E6F3-B8DB-8F6A35E8F9BA}"/>
          </ac:spMkLst>
        </pc:spChg>
        <pc:picChg chg="add mod">
          <ac:chgData name="Michele Rocco" userId="b98ebe7a-7641-4b10-bb82-27245654a50a" providerId="ADAL" clId="{0D83CF57-C9B6-4044-A52F-C1CAB1FC6A96}" dt="2023-12-18T15:42:42.777" v="25" actId="1076"/>
          <ac:picMkLst>
            <pc:docMk/>
            <pc:sldMk cId="4187071354" sldId="287"/>
            <ac:picMk id="10" creationId="{C65F004F-8A14-B0D6-FE95-4E6939E0DA69}"/>
          </ac:picMkLst>
        </pc:picChg>
      </pc:sldChg>
    </pc:docChg>
  </pc:docChgLst>
  <pc:docChgLst>
    <pc:chgData name="Michele Rocco" userId="b98ebe7a-7641-4b10-bb82-27245654a50a" providerId="ADAL" clId="{05A8CA33-8AB0-4B87-A00A-3A9C909B6976}"/>
    <pc:docChg chg="undo redo custSel addSld modSld modMainMaster">
      <pc:chgData name="Michele Rocco" userId="b98ebe7a-7641-4b10-bb82-27245654a50a" providerId="ADAL" clId="{05A8CA33-8AB0-4B87-A00A-3A9C909B6976}" dt="2024-01-24T09:20:27.618" v="10653" actId="20577"/>
      <pc:docMkLst>
        <pc:docMk/>
      </pc:docMkLst>
      <pc:sldChg chg="modSp mod">
        <pc:chgData name="Michele Rocco" userId="b98ebe7a-7641-4b10-bb82-27245654a50a" providerId="ADAL" clId="{05A8CA33-8AB0-4B87-A00A-3A9C909B6976}" dt="2024-01-23T16:57:00.547" v="6" actId="790"/>
        <pc:sldMkLst>
          <pc:docMk/>
          <pc:sldMk cId="3601296254" sldId="258"/>
        </pc:sldMkLst>
        <pc:spChg chg="mod">
          <ac:chgData name="Michele Rocco" userId="b98ebe7a-7641-4b10-bb82-27245654a50a" providerId="ADAL" clId="{05A8CA33-8AB0-4B87-A00A-3A9C909B6976}" dt="2024-01-23T16:57:00.547" v="6" actId="790"/>
          <ac:spMkLst>
            <pc:docMk/>
            <pc:sldMk cId="3601296254" sldId="258"/>
            <ac:spMk id="3" creationId="{90D17616-C6F6-5E72-B3B8-B8737DA3DB23}"/>
          </ac:spMkLst>
        </pc:spChg>
        <pc:spChg chg="mod">
          <ac:chgData name="Michele Rocco" userId="b98ebe7a-7641-4b10-bb82-27245654a50a" providerId="ADAL" clId="{05A8CA33-8AB0-4B87-A00A-3A9C909B6976}" dt="2024-01-23T16:57:00.546" v="5" actId="790"/>
          <ac:spMkLst>
            <pc:docMk/>
            <pc:sldMk cId="3601296254" sldId="258"/>
            <ac:spMk id="4" creationId="{1AC29BDC-7CB8-266E-07CF-D9D5D9169AC3}"/>
          </ac:spMkLst>
        </pc:spChg>
      </pc:sldChg>
      <pc:sldChg chg="modSp mod">
        <pc:chgData name="Michele Rocco" userId="b98ebe7a-7641-4b10-bb82-27245654a50a" providerId="ADAL" clId="{05A8CA33-8AB0-4B87-A00A-3A9C909B6976}" dt="2024-01-23T16:57:00.543" v="4" actId="790"/>
        <pc:sldMkLst>
          <pc:docMk/>
          <pc:sldMk cId="913701754" sldId="267"/>
        </pc:sldMkLst>
        <pc:spChg chg="mod">
          <ac:chgData name="Michele Rocco" userId="b98ebe7a-7641-4b10-bb82-27245654a50a" providerId="ADAL" clId="{05A8CA33-8AB0-4B87-A00A-3A9C909B6976}" dt="2024-01-23T16:57:00.541" v="3" actId="790"/>
          <ac:spMkLst>
            <pc:docMk/>
            <pc:sldMk cId="913701754" sldId="267"/>
            <ac:spMk id="2" creationId="{B40086CB-E149-4C33-F1BF-6132B0867F59}"/>
          </ac:spMkLst>
        </pc:spChg>
        <pc:spChg chg="mod">
          <ac:chgData name="Michele Rocco" userId="b98ebe7a-7641-4b10-bb82-27245654a50a" providerId="ADAL" clId="{05A8CA33-8AB0-4B87-A00A-3A9C909B6976}" dt="2024-01-23T16:57:00.540" v="2" actId="790"/>
          <ac:spMkLst>
            <pc:docMk/>
            <pc:sldMk cId="913701754" sldId="267"/>
            <ac:spMk id="3" creationId="{8D39D37D-9355-8216-502B-248CE6B8D7D6}"/>
          </ac:spMkLst>
        </pc:spChg>
        <pc:spChg chg="mod">
          <ac:chgData name="Michele Rocco" userId="b98ebe7a-7641-4b10-bb82-27245654a50a" providerId="ADAL" clId="{05A8CA33-8AB0-4B87-A00A-3A9C909B6976}" dt="2024-01-23T16:57:00.543" v="4" actId="790"/>
          <ac:spMkLst>
            <pc:docMk/>
            <pc:sldMk cId="913701754" sldId="267"/>
            <ac:spMk id="5" creationId="{E21AFF28-0883-405B-A8DD-D42393A233A2}"/>
          </ac:spMkLst>
        </pc:spChg>
      </pc:sldChg>
      <pc:sldChg chg="modSp mod">
        <pc:chgData name="Michele Rocco" userId="b98ebe7a-7641-4b10-bb82-27245654a50a" providerId="ADAL" clId="{05A8CA33-8AB0-4B87-A00A-3A9C909B6976}" dt="2024-01-23T16:57:00.555" v="12" actId="790"/>
        <pc:sldMkLst>
          <pc:docMk/>
          <pc:sldMk cId="994454846" sldId="291"/>
        </pc:sldMkLst>
        <pc:spChg chg="mod">
          <ac:chgData name="Michele Rocco" userId="b98ebe7a-7641-4b10-bb82-27245654a50a" providerId="ADAL" clId="{05A8CA33-8AB0-4B87-A00A-3A9C909B6976}" dt="2024-01-23T16:57:00.547" v="9" actId="790"/>
          <ac:spMkLst>
            <pc:docMk/>
            <pc:sldMk cId="994454846" sldId="291"/>
            <ac:spMk id="2" creationId="{51BBF078-C8A6-B19B-5A86-1388E178168E}"/>
          </ac:spMkLst>
        </pc:spChg>
        <pc:spChg chg="mod">
          <ac:chgData name="Michele Rocco" userId="b98ebe7a-7641-4b10-bb82-27245654a50a" providerId="ADAL" clId="{05A8CA33-8AB0-4B87-A00A-3A9C909B6976}" dt="2024-01-23T16:57:00.547" v="10" actId="790"/>
          <ac:spMkLst>
            <pc:docMk/>
            <pc:sldMk cId="994454846" sldId="291"/>
            <ac:spMk id="3" creationId="{C04D15B5-7960-56F9-327A-2187E8DB5B91}"/>
          </ac:spMkLst>
        </pc:spChg>
        <pc:spChg chg="mod">
          <ac:chgData name="Michele Rocco" userId="b98ebe7a-7641-4b10-bb82-27245654a50a" providerId="ADAL" clId="{05A8CA33-8AB0-4B87-A00A-3A9C909B6976}" dt="2024-01-23T16:57:00.547" v="11" actId="790"/>
          <ac:spMkLst>
            <pc:docMk/>
            <pc:sldMk cId="994454846" sldId="291"/>
            <ac:spMk id="4" creationId="{AA22CF49-01A6-8083-3BF5-A087AFE4980A}"/>
          </ac:spMkLst>
        </pc:spChg>
        <pc:spChg chg="mod">
          <ac:chgData name="Michele Rocco" userId="b98ebe7a-7641-4b10-bb82-27245654a50a" providerId="ADAL" clId="{05A8CA33-8AB0-4B87-A00A-3A9C909B6976}" dt="2024-01-23T16:57:00.555" v="12" actId="790"/>
          <ac:spMkLst>
            <pc:docMk/>
            <pc:sldMk cId="994454846" sldId="291"/>
            <ac:spMk id="9" creationId="{384C8E91-B72A-D715-878D-3115E7D21AE9}"/>
          </ac:spMkLst>
        </pc:spChg>
      </pc:sldChg>
      <pc:sldChg chg="modSp mod">
        <pc:chgData name="Michele Rocco" userId="b98ebe7a-7641-4b10-bb82-27245654a50a" providerId="ADAL" clId="{05A8CA33-8AB0-4B87-A00A-3A9C909B6976}" dt="2024-01-23T16:57:00.557" v="16" actId="790"/>
        <pc:sldMkLst>
          <pc:docMk/>
          <pc:sldMk cId="3241623441" sldId="292"/>
        </pc:sldMkLst>
        <pc:spChg chg="mod">
          <ac:chgData name="Michele Rocco" userId="b98ebe7a-7641-4b10-bb82-27245654a50a" providerId="ADAL" clId="{05A8CA33-8AB0-4B87-A00A-3A9C909B6976}" dt="2024-01-23T16:57:00.556" v="13" actId="790"/>
          <ac:spMkLst>
            <pc:docMk/>
            <pc:sldMk cId="3241623441" sldId="292"/>
            <ac:spMk id="2" creationId="{51BBF078-C8A6-B19B-5A86-1388E178168E}"/>
          </ac:spMkLst>
        </pc:spChg>
        <pc:spChg chg="mod">
          <ac:chgData name="Michele Rocco" userId="b98ebe7a-7641-4b10-bb82-27245654a50a" providerId="ADAL" clId="{05A8CA33-8AB0-4B87-A00A-3A9C909B6976}" dt="2024-01-23T16:57:00.556" v="14" actId="790"/>
          <ac:spMkLst>
            <pc:docMk/>
            <pc:sldMk cId="3241623441" sldId="292"/>
            <ac:spMk id="3" creationId="{C04D15B5-7960-56F9-327A-2187E8DB5B91}"/>
          </ac:spMkLst>
        </pc:spChg>
        <pc:spChg chg="mod">
          <ac:chgData name="Michele Rocco" userId="b98ebe7a-7641-4b10-bb82-27245654a50a" providerId="ADAL" clId="{05A8CA33-8AB0-4B87-A00A-3A9C909B6976}" dt="2024-01-23T16:57:00.557" v="15" actId="790"/>
          <ac:spMkLst>
            <pc:docMk/>
            <pc:sldMk cId="3241623441" sldId="292"/>
            <ac:spMk id="4" creationId="{AA22CF49-01A6-8083-3BF5-A087AFE4980A}"/>
          </ac:spMkLst>
        </pc:spChg>
        <pc:spChg chg="mod">
          <ac:chgData name="Michele Rocco" userId="b98ebe7a-7641-4b10-bb82-27245654a50a" providerId="ADAL" clId="{05A8CA33-8AB0-4B87-A00A-3A9C909B6976}" dt="2024-01-23T16:57:00.557" v="16" actId="790"/>
          <ac:spMkLst>
            <pc:docMk/>
            <pc:sldMk cId="3241623441" sldId="292"/>
            <ac:spMk id="9" creationId="{384C8E91-B72A-D715-878D-3115E7D21AE9}"/>
          </ac:spMkLst>
        </pc:spChg>
      </pc:sldChg>
      <pc:sldChg chg="modSp mod">
        <pc:chgData name="Michele Rocco" userId="b98ebe7a-7641-4b10-bb82-27245654a50a" providerId="ADAL" clId="{05A8CA33-8AB0-4B87-A00A-3A9C909B6976}" dt="2024-01-23T16:57:00.560" v="20" actId="790"/>
        <pc:sldMkLst>
          <pc:docMk/>
          <pc:sldMk cId="692283471" sldId="293"/>
        </pc:sldMkLst>
        <pc:spChg chg="mod">
          <ac:chgData name="Michele Rocco" userId="b98ebe7a-7641-4b10-bb82-27245654a50a" providerId="ADAL" clId="{05A8CA33-8AB0-4B87-A00A-3A9C909B6976}" dt="2024-01-23T16:57:00.557" v="17" actId="790"/>
          <ac:spMkLst>
            <pc:docMk/>
            <pc:sldMk cId="692283471" sldId="293"/>
            <ac:spMk id="2" creationId="{51BBF078-C8A6-B19B-5A86-1388E178168E}"/>
          </ac:spMkLst>
        </pc:spChg>
        <pc:spChg chg="mod">
          <ac:chgData name="Michele Rocco" userId="b98ebe7a-7641-4b10-bb82-27245654a50a" providerId="ADAL" clId="{05A8CA33-8AB0-4B87-A00A-3A9C909B6976}" dt="2024-01-23T16:57:00.557" v="18" actId="790"/>
          <ac:spMkLst>
            <pc:docMk/>
            <pc:sldMk cId="692283471" sldId="293"/>
            <ac:spMk id="3" creationId="{C04D15B5-7960-56F9-327A-2187E8DB5B91}"/>
          </ac:spMkLst>
        </pc:spChg>
        <pc:spChg chg="mod">
          <ac:chgData name="Michele Rocco" userId="b98ebe7a-7641-4b10-bb82-27245654a50a" providerId="ADAL" clId="{05A8CA33-8AB0-4B87-A00A-3A9C909B6976}" dt="2024-01-23T16:57:00.557" v="19" actId="790"/>
          <ac:spMkLst>
            <pc:docMk/>
            <pc:sldMk cId="692283471" sldId="293"/>
            <ac:spMk id="4" creationId="{AA22CF49-01A6-8083-3BF5-A087AFE4980A}"/>
          </ac:spMkLst>
        </pc:spChg>
        <pc:spChg chg="mod">
          <ac:chgData name="Michele Rocco" userId="b98ebe7a-7641-4b10-bb82-27245654a50a" providerId="ADAL" clId="{05A8CA33-8AB0-4B87-A00A-3A9C909B6976}" dt="2024-01-23T16:57:00.560" v="20" actId="790"/>
          <ac:spMkLst>
            <pc:docMk/>
            <pc:sldMk cId="692283471" sldId="293"/>
            <ac:spMk id="9" creationId="{384C8E91-B72A-D715-878D-3115E7D21AE9}"/>
          </ac:spMkLst>
        </pc:spChg>
      </pc:sldChg>
      <pc:sldChg chg="modSp mod">
        <pc:chgData name="Michele Rocco" userId="b98ebe7a-7641-4b10-bb82-27245654a50a" providerId="ADAL" clId="{05A8CA33-8AB0-4B87-A00A-3A9C909B6976}" dt="2024-01-23T16:57:00.587" v="25" actId="790"/>
        <pc:sldMkLst>
          <pc:docMk/>
          <pc:sldMk cId="2858633819" sldId="294"/>
        </pc:sldMkLst>
        <pc:spChg chg="mod">
          <ac:chgData name="Michele Rocco" userId="b98ebe7a-7641-4b10-bb82-27245654a50a" providerId="ADAL" clId="{05A8CA33-8AB0-4B87-A00A-3A9C909B6976}" dt="2024-01-23T16:57:00.586" v="23" actId="790"/>
          <ac:spMkLst>
            <pc:docMk/>
            <pc:sldMk cId="2858633819" sldId="294"/>
            <ac:spMk id="2" creationId="{51BBF078-C8A6-B19B-5A86-1388E178168E}"/>
          </ac:spMkLst>
        </pc:spChg>
        <pc:spChg chg="mod">
          <ac:chgData name="Michele Rocco" userId="b98ebe7a-7641-4b10-bb82-27245654a50a" providerId="ADAL" clId="{05A8CA33-8AB0-4B87-A00A-3A9C909B6976}" dt="2024-01-23T16:57:00.587" v="24" actId="790"/>
          <ac:spMkLst>
            <pc:docMk/>
            <pc:sldMk cId="2858633819" sldId="294"/>
            <ac:spMk id="3" creationId="{C04D15B5-7960-56F9-327A-2187E8DB5B91}"/>
          </ac:spMkLst>
        </pc:spChg>
        <pc:spChg chg="mod">
          <ac:chgData name="Michele Rocco" userId="b98ebe7a-7641-4b10-bb82-27245654a50a" providerId="ADAL" clId="{05A8CA33-8AB0-4B87-A00A-3A9C909B6976}" dt="2024-01-23T16:57:00.587" v="25" actId="790"/>
          <ac:spMkLst>
            <pc:docMk/>
            <pc:sldMk cId="2858633819" sldId="294"/>
            <ac:spMk id="4" creationId="{AA22CF49-01A6-8083-3BF5-A087AFE4980A}"/>
          </ac:spMkLst>
        </pc:spChg>
        <pc:spChg chg="mod">
          <ac:chgData name="Michele Rocco" userId="b98ebe7a-7641-4b10-bb82-27245654a50a" providerId="ADAL" clId="{05A8CA33-8AB0-4B87-A00A-3A9C909B6976}" dt="2024-01-23T16:57:00.574" v="21" actId="790"/>
          <ac:spMkLst>
            <pc:docMk/>
            <pc:sldMk cId="2858633819" sldId="294"/>
            <ac:spMk id="5" creationId="{07C10B25-52DB-6AE0-3DBC-9A996236C2B2}"/>
          </ac:spMkLst>
        </pc:spChg>
        <pc:spChg chg="mod">
          <ac:chgData name="Michele Rocco" userId="b98ebe7a-7641-4b10-bb82-27245654a50a" providerId="ADAL" clId="{05A8CA33-8AB0-4B87-A00A-3A9C909B6976}" dt="2024-01-23T16:57:00.586" v="22" actId="790"/>
          <ac:spMkLst>
            <pc:docMk/>
            <pc:sldMk cId="2858633819" sldId="294"/>
            <ac:spMk id="7" creationId="{4CD401C1-C9E4-A15B-4244-04B575C68909}"/>
          </ac:spMkLst>
        </pc:spChg>
      </pc:sldChg>
      <pc:sldChg chg="modSp mod">
        <pc:chgData name="Michele Rocco" userId="b98ebe7a-7641-4b10-bb82-27245654a50a" providerId="ADAL" clId="{05A8CA33-8AB0-4B87-A00A-3A9C909B6976}" dt="2024-01-23T16:57:00.590" v="29" actId="790"/>
        <pc:sldMkLst>
          <pc:docMk/>
          <pc:sldMk cId="3804523030" sldId="295"/>
        </pc:sldMkLst>
        <pc:spChg chg="mod">
          <ac:chgData name="Michele Rocco" userId="b98ebe7a-7641-4b10-bb82-27245654a50a" providerId="ADAL" clId="{05A8CA33-8AB0-4B87-A00A-3A9C909B6976}" dt="2024-01-23T16:57:00.588" v="26" actId="790"/>
          <ac:spMkLst>
            <pc:docMk/>
            <pc:sldMk cId="3804523030" sldId="295"/>
            <ac:spMk id="2" creationId="{51BBF078-C8A6-B19B-5A86-1388E178168E}"/>
          </ac:spMkLst>
        </pc:spChg>
        <pc:spChg chg="mod">
          <ac:chgData name="Michele Rocco" userId="b98ebe7a-7641-4b10-bb82-27245654a50a" providerId="ADAL" clId="{05A8CA33-8AB0-4B87-A00A-3A9C909B6976}" dt="2024-01-23T16:57:00.588" v="27" actId="790"/>
          <ac:spMkLst>
            <pc:docMk/>
            <pc:sldMk cId="3804523030" sldId="295"/>
            <ac:spMk id="3" creationId="{C04D15B5-7960-56F9-327A-2187E8DB5B91}"/>
          </ac:spMkLst>
        </pc:spChg>
        <pc:spChg chg="mod">
          <ac:chgData name="Michele Rocco" userId="b98ebe7a-7641-4b10-bb82-27245654a50a" providerId="ADAL" clId="{05A8CA33-8AB0-4B87-A00A-3A9C909B6976}" dt="2024-01-23T16:57:00.589" v="28" actId="790"/>
          <ac:spMkLst>
            <pc:docMk/>
            <pc:sldMk cId="3804523030" sldId="295"/>
            <ac:spMk id="4" creationId="{AA22CF49-01A6-8083-3BF5-A087AFE4980A}"/>
          </ac:spMkLst>
        </pc:spChg>
        <pc:spChg chg="mod">
          <ac:chgData name="Michele Rocco" userId="b98ebe7a-7641-4b10-bb82-27245654a50a" providerId="ADAL" clId="{05A8CA33-8AB0-4B87-A00A-3A9C909B6976}" dt="2024-01-23T16:57:00.590" v="29" actId="790"/>
          <ac:spMkLst>
            <pc:docMk/>
            <pc:sldMk cId="3804523030" sldId="295"/>
            <ac:spMk id="9" creationId="{384C8E91-B72A-D715-878D-3115E7D21AE9}"/>
          </ac:spMkLst>
        </pc:spChg>
      </pc:sldChg>
      <pc:sldChg chg="modSp mod">
        <pc:chgData name="Michele Rocco" userId="b98ebe7a-7641-4b10-bb82-27245654a50a" providerId="ADAL" clId="{05A8CA33-8AB0-4B87-A00A-3A9C909B6976}" dt="2024-01-23T16:57:00.590" v="34" actId="790"/>
        <pc:sldMkLst>
          <pc:docMk/>
          <pc:sldMk cId="1570471128" sldId="296"/>
        </pc:sldMkLst>
        <pc:spChg chg="mod">
          <ac:chgData name="Michele Rocco" userId="b98ebe7a-7641-4b10-bb82-27245654a50a" providerId="ADAL" clId="{05A8CA33-8AB0-4B87-A00A-3A9C909B6976}" dt="2024-01-23T16:57:00.590" v="30" actId="790"/>
          <ac:spMkLst>
            <pc:docMk/>
            <pc:sldMk cId="1570471128" sldId="296"/>
            <ac:spMk id="2" creationId="{51BBF078-C8A6-B19B-5A86-1388E178168E}"/>
          </ac:spMkLst>
        </pc:spChg>
        <pc:spChg chg="mod">
          <ac:chgData name="Michele Rocco" userId="b98ebe7a-7641-4b10-bb82-27245654a50a" providerId="ADAL" clId="{05A8CA33-8AB0-4B87-A00A-3A9C909B6976}" dt="2024-01-23T16:57:00.590" v="31" actId="790"/>
          <ac:spMkLst>
            <pc:docMk/>
            <pc:sldMk cId="1570471128" sldId="296"/>
            <ac:spMk id="3" creationId="{C04D15B5-7960-56F9-327A-2187E8DB5B91}"/>
          </ac:spMkLst>
        </pc:spChg>
        <pc:spChg chg="mod">
          <ac:chgData name="Michele Rocco" userId="b98ebe7a-7641-4b10-bb82-27245654a50a" providerId="ADAL" clId="{05A8CA33-8AB0-4B87-A00A-3A9C909B6976}" dt="2024-01-23T16:57:00.590" v="32" actId="790"/>
          <ac:spMkLst>
            <pc:docMk/>
            <pc:sldMk cId="1570471128" sldId="296"/>
            <ac:spMk id="4" creationId="{AA22CF49-01A6-8083-3BF5-A087AFE4980A}"/>
          </ac:spMkLst>
        </pc:spChg>
        <pc:spChg chg="mod">
          <ac:chgData name="Michele Rocco" userId="b98ebe7a-7641-4b10-bb82-27245654a50a" providerId="ADAL" clId="{05A8CA33-8AB0-4B87-A00A-3A9C909B6976}" dt="2024-01-23T16:57:00.590" v="33" actId="790"/>
          <ac:spMkLst>
            <pc:docMk/>
            <pc:sldMk cId="1570471128" sldId="296"/>
            <ac:spMk id="9" creationId="{384C8E91-B72A-D715-878D-3115E7D21AE9}"/>
          </ac:spMkLst>
        </pc:spChg>
        <pc:spChg chg="mod">
          <ac:chgData name="Michele Rocco" userId="b98ebe7a-7641-4b10-bb82-27245654a50a" providerId="ADAL" clId="{05A8CA33-8AB0-4B87-A00A-3A9C909B6976}" dt="2024-01-23T16:57:00.590" v="34" actId="790"/>
          <ac:spMkLst>
            <pc:docMk/>
            <pc:sldMk cId="1570471128" sldId="296"/>
            <ac:spMk id="12" creationId="{1790EBD9-6684-4CE0-92FE-08B9BBF9FF90}"/>
          </ac:spMkLst>
        </pc:spChg>
      </pc:sldChg>
      <pc:sldChg chg="modSp mod">
        <pc:chgData name="Michele Rocco" userId="b98ebe7a-7641-4b10-bb82-27245654a50a" providerId="ADAL" clId="{05A8CA33-8AB0-4B87-A00A-3A9C909B6976}" dt="2024-01-23T16:57:00.598" v="39" actId="790"/>
        <pc:sldMkLst>
          <pc:docMk/>
          <pc:sldMk cId="1604505303" sldId="297"/>
        </pc:sldMkLst>
        <pc:spChg chg="mod">
          <ac:chgData name="Michele Rocco" userId="b98ebe7a-7641-4b10-bb82-27245654a50a" providerId="ADAL" clId="{05A8CA33-8AB0-4B87-A00A-3A9C909B6976}" dt="2024-01-23T16:57:00.595" v="35" actId="790"/>
          <ac:spMkLst>
            <pc:docMk/>
            <pc:sldMk cId="1604505303" sldId="297"/>
            <ac:spMk id="2" creationId="{51BBF078-C8A6-B19B-5A86-1388E178168E}"/>
          </ac:spMkLst>
        </pc:spChg>
        <pc:spChg chg="mod">
          <ac:chgData name="Michele Rocco" userId="b98ebe7a-7641-4b10-bb82-27245654a50a" providerId="ADAL" clId="{05A8CA33-8AB0-4B87-A00A-3A9C909B6976}" dt="2024-01-23T16:57:00.595" v="36" actId="790"/>
          <ac:spMkLst>
            <pc:docMk/>
            <pc:sldMk cId="1604505303" sldId="297"/>
            <ac:spMk id="3" creationId="{C04D15B5-7960-56F9-327A-2187E8DB5B91}"/>
          </ac:spMkLst>
        </pc:spChg>
        <pc:spChg chg="mod">
          <ac:chgData name="Michele Rocco" userId="b98ebe7a-7641-4b10-bb82-27245654a50a" providerId="ADAL" clId="{05A8CA33-8AB0-4B87-A00A-3A9C909B6976}" dt="2024-01-23T16:57:00.596" v="37" actId="790"/>
          <ac:spMkLst>
            <pc:docMk/>
            <pc:sldMk cId="1604505303" sldId="297"/>
            <ac:spMk id="4" creationId="{AA22CF49-01A6-8083-3BF5-A087AFE4980A}"/>
          </ac:spMkLst>
        </pc:spChg>
        <pc:spChg chg="mod">
          <ac:chgData name="Michele Rocco" userId="b98ebe7a-7641-4b10-bb82-27245654a50a" providerId="ADAL" clId="{05A8CA33-8AB0-4B87-A00A-3A9C909B6976}" dt="2024-01-23T16:57:00.596" v="38" actId="790"/>
          <ac:spMkLst>
            <pc:docMk/>
            <pc:sldMk cId="1604505303" sldId="297"/>
            <ac:spMk id="9" creationId="{384C8E91-B72A-D715-878D-3115E7D21AE9}"/>
          </ac:spMkLst>
        </pc:spChg>
        <pc:spChg chg="mod">
          <ac:chgData name="Michele Rocco" userId="b98ebe7a-7641-4b10-bb82-27245654a50a" providerId="ADAL" clId="{05A8CA33-8AB0-4B87-A00A-3A9C909B6976}" dt="2024-01-23T16:57:00.598" v="39" actId="790"/>
          <ac:spMkLst>
            <pc:docMk/>
            <pc:sldMk cId="1604505303" sldId="297"/>
            <ac:spMk id="12" creationId="{1790EBD9-6684-4CE0-92FE-08B9BBF9FF90}"/>
          </ac:spMkLst>
        </pc:spChg>
      </pc:sldChg>
      <pc:sldChg chg="modSp mod">
        <pc:chgData name="Michele Rocco" userId="b98ebe7a-7641-4b10-bb82-27245654a50a" providerId="ADAL" clId="{05A8CA33-8AB0-4B87-A00A-3A9C909B6976}" dt="2024-01-23T16:57:00.599" v="42" actId="790"/>
        <pc:sldMkLst>
          <pc:docMk/>
          <pc:sldMk cId="3397797632" sldId="299"/>
        </pc:sldMkLst>
        <pc:spChg chg="mod">
          <ac:chgData name="Michele Rocco" userId="b98ebe7a-7641-4b10-bb82-27245654a50a" providerId="ADAL" clId="{05A8CA33-8AB0-4B87-A00A-3A9C909B6976}" dt="2024-01-23T16:57:00.599" v="40" actId="790"/>
          <ac:spMkLst>
            <pc:docMk/>
            <pc:sldMk cId="3397797632" sldId="299"/>
            <ac:spMk id="2" creationId="{A32276C4-73BB-0578-40AB-D7DE7AEE228F}"/>
          </ac:spMkLst>
        </pc:spChg>
        <pc:spChg chg="mod">
          <ac:chgData name="Michele Rocco" userId="b98ebe7a-7641-4b10-bb82-27245654a50a" providerId="ADAL" clId="{05A8CA33-8AB0-4B87-A00A-3A9C909B6976}" dt="2024-01-23T16:57:00.599" v="41" actId="790"/>
          <ac:spMkLst>
            <pc:docMk/>
            <pc:sldMk cId="3397797632" sldId="299"/>
            <ac:spMk id="3" creationId="{7C00DDAA-51A6-1AB4-6244-29186F2B3724}"/>
          </ac:spMkLst>
        </pc:spChg>
        <pc:spChg chg="mod">
          <ac:chgData name="Michele Rocco" userId="b98ebe7a-7641-4b10-bb82-27245654a50a" providerId="ADAL" clId="{05A8CA33-8AB0-4B87-A00A-3A9C909B6976}" dt="2024-01-23T16:57:00.599" v="42" actId="790"/>
          <ac:spMkLst>
            <pc:docMk/>
            <pc:sldMk cId="3397797632" sldId="299"/>
            <ac:spMk id="4" creationId="{65E8087E-1FF9-E2B3-88C0-31867B258FDE}"/>
          </ac:spMkLst>
        </pc:spChg>
      </pc:sldChg>
      <pc:sldChg chg="modSp mod">
        <pc:chgData name="Michele Rocco" userId="b98ebe7a-7641-4b10-bb82-27245654a50a" providerId="ADAL" clId="{05A8CA33-8AB0-4B87-A00A-3A9C909B6976}" dt="2024-01-23T16:57:00.603" v="47" actId="790"/>
        <pc:sldMkLst>
          <pc:docMk/>
          <pc:sldMk cId="1255775440" sldId="300"/>
        </pc:sldMkLst>
        <pc:spChg chg="mod">
          <ac:chgData name="Michele Rocco" userId="b98ebe7a-7641-4b10-bb82-27245654a50a" providerId="ADAL" clId="{05A8CA33-8AB0-4B87-A00A-3A9C909B6976}" dt="2024-01-23T16:57:00.603" v="45" actId="790"/>
          <ac:spMkLst>
            <pc:docMk/>
            <pc:sldMk cId="1255775440" sldId="300"/>
            <ac:spMk id="2" creationId="{0FED1ECC-B37A-AFAC-AAE5-7973C510847E}"/>
          </ac:spMkLst>
        </pc:spChg>
        <pc:spChg chg="mod">
          <ac:chgData name="Michele Rocco" userId="b98ebe7a-7641-4b10-bb82-27245654a50a" providerId="ADAL" clId="{05A8CA33-8AB0-4B87-A00A-3A9C909B6976}" dt="2024-01-23T16:57:00.603" v="46" actId="790"/>
          <ac:spMkLst>
            <pc:docMk/>
            <pc:sldMk cId="1255775440" sldId="300"/>
            <ac:spMk id="3" creationId="{59CD7390-6C7C-51DE-C14F-CB3D62B0949A}"/>
          </ac:spMkLst>
        </pc:spChg>
        <pc:spChg chg="mod">
          <ac:chgData name="Michele Rocco" userId="b98ebe7a-7641-4b10-bb82-27245654a50a" providerId="ADAL" clId="{05A8CA33-8AB0-4B87-A00A-3A9C909B6976}" dt="2024-01-23T16:57:00.603" v="47" actId="790"/>
          <ac:spMkLst>
            <pc:docMk/>
            <pc:sldMk cId="1255775440" sldId="300"/>
            <ac:spMk id="4" creationId="{95026A83-6ECD-373A-CA40-BB0B21504E70}"/>
          </ac:spMkLst>
        </pc:spChg>
      </pc:sldChg>
      <pc:sldChg chg="modSp mod">
        <pc:chgData name="Michele Rocco" userId="b98ebe7a-7641-4b10-bb82-27245654a50a" providerId="ADAL" clId="{05A8CA33-8AB0-4B87-A00A-3A9C909B6976}" dt="2024-01-23T16:57:00.603" v="50" actId="790"/>
        <pc:sldMkLst>
          <pc:docMk/>
          <pc:sldMk cId="1968516981" sldId="301"/>
        </pc:sldMkLst>
        <pc:spChg chg="mod">
          <ac:chgData name="Michele Rocco" userId="b98ebe7a-7641-4b10-bb82-27245654a50a" providerId="ADAL" clId="{05A8CA33-8AB0-4B87-A00A-3A9C909B6976}" dt="2024-01-23T16:57:00.603" v="48" actId="790"/>
          <ac:spMkLst>
            <pc:docMk/>
            <pc:sldMk cId="1968516981" sldId="301"/>
            <ac:spMk id="2" creationId="{E070C1E7-82FC-C308-48AA-BB576309C94E}"/>
          </ac:spMkLst>
        </pc:spChg>
        <pc:spChg chg="mod">
          <ac:chgData name="Michele Rocco" userId="b98ebe7a-7641-4b10-bb82-27245654a50a" providerId="ADAL" clId="{05A8CA33-8AB0-4B87-A00A-3A9C909B6976}" dt="2024-01-23T16:57:00.603" v="49" actId="790"/>
          <ac:spMkLst>
            <pc:docMk/>
            <pc:sldMk cId="1968516981" sldId="301"/>
            <ac:spMk id="3" creationId="{96F58EB3-146D-01AB-FF1C-F63564B5F8B6}"/>
          </ac:spMkLst>
        </pc:spChg>
        <pc:spChg chg="mod">
          <ac:chgData name="Michele Rocco" userId="b98ebe7a-7641-4b10-bb82-27245654a50a" providerId="ADAL" clId="{05A8CA33-8AB0-4B87-A00A-3A9C909B6976}" dt="2024-01-23T16:57:00.603" v="50" actId="790"/>
          <ac:spMkLst>
            <pc:docMk/>
            <pc:sldMk cId="1968516981" sldId="301"/>
            <ac:spMk id="4" creationId="{3BC48301-FCC8-1160-E86A-02C6E0DDC8CE}"/>
          </ac:spMkLst>
        </pc:spChg>
      </pc:sldChg>
      <pc:sldChg chg="modSp mod">
        <pc:chgData name="Michele Rocco" userId="b98ebe7a-7641-4b10-bb82-27245654a50a" providerId="ADAL" clId="{05A8CA33-8AB0-4B87-A00A-3A9C909B6976}" dt="2024-01-23T16:57:00.603" v="53" actId="790"/>
        <pc:sldMkLst>
          <pc:docMk/>
          <pc:sldMk cId="3837282433" sldId="302"/>
        </pc:sldMkLst>
        <pc:spChg chg="mod">
          <ac:chgData name="Michele Rocco" userId="b98ebe7a-7641-4b10-bb82-27245654a50a" providerId="ADAL" clId="{05A8CA33-8AB0-4B87-A00A-3A9C909B6976}" dt="2024-01-23T16:57:00.603" v="51" actId="790"/>
          <ac:spMkLst>
            <pc:docMk/>
            <pc:sldMk cId="3837282433" sldId="302"/>
            <ac:spMk id="2" creationId="{D7C9BEB4-AE92-C198-5C9B-5A770711D3C8}"/>
          </ac:spMkLst>
        </pc:spChg>
        <pc:spChg chg="mod">
          <ac:chgData name="Michele Rocco" userId="b98ebe7a-7641-4b10-bb82-27245654a50a" providerId="ADAL" clId="{05A8CA33-8AB0-4B87-A00A-3A9C909B6976}" dt="2024-01-23T16:57:00.603" v="52" actId="790"/>
          <ac:spMkLst>
            <pc:docMk/>
            <pc:sldMk cId="3837282433" sldId="302"/>
            <ac:spMk id="3" creationId="{E4BAF6DD-077F-1F17-AE2F-BC1ED46FE221}"/>
          </ac:spMkLst>
        </pc:spChg>
        <pc:spChg chg="mod">
          <ac:chgData name="Michele Rocco" userId="b98ebe7a-7641-4b10-bb82-27245654a50a" providerId="ADAL" clId="{05A8CA33-8AB0-4B87-A00A-3A9C909B6976}" dt="2024-01-23T16:57:00.603" v="53" actId="790"/>
          <ac:spMkLst>
            <pc:docMk/>
            <pc:sldMk cId="3837282433" sldId="302"/>
            <ac:spMk id="4" creationId="{A27AF004-9DDA-E731-1311-119056E32959}"/>
          </ac:spMkLst>
        </pc:spChg>
      </pc:sldChg>
      <pc:sldChg chg="modSp mod">
        <pc:chgData name="Michele Rocco" userId="b98ebe7a-7641-4b10-bb82-27245654a50a" providerId="ADAL" clId="{05A8CA33-8AB0-4B87-A00A-3A9C909B6976}" dt="2024-01-23T16:57:00.603" v="56" actId="790"/>
        <pc:sldMkLst>
          <pc:docMk/>
          <pc:sldMk cId="786950877" sldId="303"/>
        </pc:sldMkLst>
        <pc:spChg chg="mod">
          <ac:chgData name="Michele Rocco" userId="b98ebe7a-7641-4b10-bb82-27245654a50a" providerId="ADAL" clId="{05A8CA33-8AB0-4B87-A00A-3A9C909B6976}" dt="2024-01-23T16:57:00.603" v="54" actId="790"/>
          <ac:spMkLst>
            <pc:docMk/>
            <pc:sldMk cId="786950877" sldId="303"/>
            <ac:spMk id="2" creationId="{06675B17-37D5-6F32-A9A2-60EF4BB95C5E}"/>
          </ac:spMkLst>
        </pc:spChg>
        <pc:spChg chg="mod">
          <ac:chgData name="Michele Rocco" userId="b98ebe7a-7641-4b10-bb82-27245654a50a" providerId="ADAL" clId="{05A8CA33-8AB0-4B87-A00A-3A9C909B6976}" dt="2024-01-23T16:57:00.603" v="55" actId="790"/>
          <ac:spMkLst>
            <pc:docMk/>
            <pc:sldMk cId="786950877" sldId="303"/>
            <ac:spMk id="3" creationId="{6A2F1E92-CEE5-452B-8FEA-0E8D600FBAD2}"/>
          </ac:spMkLst>
        </pc:spChg>
        <pc:spChg chg="mod">
          <ac:chgData name="Michele Rocco" userId="b98ebe7a-7641-4b10-bb82-27245654a50a" providerId="ADAL" clId="{05A8CA33-8AB0-4B87-A00A-3A9C909B6976}" dt="2024-01-23T16:57:00.603" v="56" actId="790"/>
          <ac:spMkLst>
            <pc:docMk/>
            <pc:sldMk cId="786950877" sldId="303"/>
            <ac:spMk id="4" creationId="{36367C1D-8298-D320-195B-70872E12BB11}"/>
          </ac:spMkLst>
        </pc:spChg>
      </pc:sldChg>
      <pc:sldChg chg="modSp mod">
        <pc:chgData name="Michele Rocco" userId="b98ebe7a-7641-4b10-bb82-27245654a50a" providerId="ADAL" clId="{05A8CA33-8AB0-4B87-A00A-3A9C909B6976}" dt="2024-01-23T16:57:00.610" v="59" actId="790"/>
        <pc:sldMkLst>
          <pc:docMk/>
          <pc:sldMk cId="4147670638" sldId="304"/>
        </pc:sldMkLst>
        <pc:spChg chg="mod">
          <ac:chgData name="Michele Rocco" userId="b98ebe7a-7641-4b10-bb82-27245654a50a" providerId="ADAL" clId="{05A8CA33-8AB0-4B87-A00A-3A9C909B6976}" dt="2024-01-23T16:57:00.609" v="57" actId="790"/>
          <ac:spMkLst>
            <pc:docMk/>
            <pc:sldMk cId="4147670638" sldId="304"/>
            <ac:spMk id="2" creationId="{06675B17-37D5-6F32-A9A2-60EF4BB95C5E}"/>
          </ac:spMkLst>
        </pc:spChg>
        <pc:spChg chg="mod">
          <ac:chgData name="Michele Rocco" userId="b98ebe7a-7641-4b10-bb82-27245654a50a" providerId="ADAL" clId="{05A8CA33-8AB0-4B87-A00A-3A9C909B6976}" dt="2024-01-23T16:57:00.609" v="58" actId="790"/>
          <ac:spMkLst>
            <pc:docMk/>
            <pc:sldMk cId="4147670638" sldId="304"/>
            <ac:spMk id="3" creationId="{6A2F1E92-CEE5-452B-8FEA-0E8D600FBAD2}"/>
          </ac:spMkLst>
        </pc:spChg>
        <pc:spChg chg="mod">
          <ac:chgData name="Michele Rocco" userId="b98ebe7a-7641-4b10-bb82-27245654a50a" providerId="ADAL" clId="{05A8CA33-8AB0-4B87-A00A-3A9C909B6976}" dt="2024-01-23T16:57:00.610" v="59" actId="790"/>
          <ac:spMkLst>
            <pc:docMk/>
            <pc:sldMk cId="4147670638" sldId="304"/>
            <ac:spMk id="4" creationId="{36367C1D-8298-D320-195B-70872E12BB11}"/>
          </ac:spMkLst>
        </pc:spChg>
      </pc:sldChg>
      <pc:sldChg chg="modSp mod">
        <pc:chgData name="Michele Rocco" userId="b98ebe7a-7641-4b10-bb82-27245654a50a" providerId="ADAL" clId="{05A8CA33-8AB0-4B87-A00A-3A9C909B6976}" dt="2024-01-23T16:57:00.613" v="65" actId="790"/>
        <pc:sldMkLst>
          <pc:docMk/>
          <pc:sldMk cId="2129748764" sldId="305"/>
        </pc:sldMkLst>
        <pc:spChg chg="mod">
          <ac:chgData name="Michele Rocco" userId="b98ebe7a-7641-4b10-bb82-27245654a50a" providerId="ADAL" clId="{05A8CA33-8AB0-4B87-A00A-3A9C909B6976}" dt="2024-01-23T16:57:00.612" v="63" actId="790"/>
          <ac:spMkLst>
            <pc:docMk/>
            <pc:sldMk cId="2129748764" sldId="305"/>
            <ac:spMk id="2" creationId="{22E6288F-4C58-0357-7270-DAE1CDAF3F92}"/>
          </ac:spMkLst>
        </pc:spChg>
        <pc:spChg chg="mod">
          <ac:chgData name="Michele Rocco" userId="b98ebe7a-7641-4b10-bb82-27245654a50a" providerId="ADAL" clId="{05A8CA33-8AB0-4B87-A00A-3A9C909B6976}" dt="2024-01-23T16:57:00.612" v="64" actId="790"/>
          <ac:spMkLst>
            <pc:docMk/>
            <pc:sldMk cId="2129748764" sldId="305"/>
            <ac:spMk id="3" creationId="{C5638F8E-5ECF-9D3B-E0E5-480CC9BC06CA}"/>
          </ac:spMkLst>
        </pc:spChg>
        <pc:spChg chg="mod">
          <ac:chgData name="Michele Rocco" userId="b98ebe7a-7641-4b10-bb82-27245654a50a" providerId="ADAL" clId="{05A8CA33-8AB0-4B87-A00A-3A9C909B6976}" dt="2024-01-23T16:57:00.613" v="65" actId="790"/>
          <ac:spMkLst>
            <pc:docMk/>
            <pc:sldMk cId="2129748764" sldId="305"/>
            <ac:spMk id="4" creationId="{3FF314E5-6D0B-17D7-4CF5-70C0600F5221}"/>
          </ac:spMkLst>
        </pc:spChg>
      </pc:sldChg>
      <pc:sldChg chg="modSp mod addCm modCm">
        <pc:chgData name="Michele Rocco" userId="b98ebe7a-7641-4b10-bb82-27245654a50a" providerId="ADAL" clId="{05A8CA33-8AB0-4B87-A00A-3A9C909B6976}" dt="2024-01-24T08:29:55.727" v="6551"/>
        <pc:sldMkLst>
          <pc:docMk/>
          <pc:sldMk cId="4004401706" sldId="306"/>
        </pc:sldMkLst>
        <pc:spChg chg="mod">
          <ac:chgData name="Michele Rocco" userId="b98ebe7a-7641-4b10-bb82-27245654a50a" providerId="ADAL" clId="{05A8CA33-8AB0-4B87-A00A-3A9C909B6976}" dt="2024-01-23T16:57:00.610" v="60" actId="790"/>
          <ac:spMkLst>
            <pc:docMk/>
            <pc:sldMk cId="4004401706" sldId="306"/>
            <ac:spMk id="2" creationId="{8AECB9C5-20A5-EC47-5C23-A7A35D341FDE}"/>
          </ac:spMkLst>
        </pc:spChg>
        <pc:spChg chg="mod">
          <ac:chgData name="Michele Rocco" userId="b98ebe7a-7641-4b10-bb82-27245654a50a" providerId="ADAL" clId="{05A8CA33-8AB0-4B87-A00A-3A9C909B6976}" dt="2024-01-23T16:57:00.610" v="61" actId="790"/>
          <ac:spMkLst>
            <pc:docMk/>
            <pc:sldMk cId="4004401706" sldId="306"/>
            <ac:spMk id="3" creationId="{C73A0543-0387-1DBD-1B9D-DFA7997D5889}"/>
          </ac:spMkLst>
        </pc:spChg>
        <pc:spChg chg="mod">
          <ac:chgData name="Michele Rocco" userId="b98ebe7a-7641-4b10-bb82-27245654a50a" providerId="ADAL" clId="{05A8CA33-8AB0-4B87-A00A-3A9C909B6976}" dt="2024-01-23T16:57:00.610" v="62" actId="790"/>
          <ac:spMkLst>
            <pc:docMk/>
            <pc:sldMk cId="4004401706" sldId="306"/>
            <ac:spMk id="4" creationId="{8A573DBD-3E92-A1A0-924C-54729A3B660D}"/>
          </ac:spMkLst>
        </pc:spChg>
        <pc:extLst>
          <p:ext xmlns:p="http://schemas.openxmlformats.org/presentationml/2006/main" uri="{D6D511B9-2390-475A-947B-AFAB55BFBCF1}">
            <pc226:cmChg xmlns:pc226="http://schemas.microsoft.com/office/powerpoint/2022/06/main/command" chg="add mod">
              <pc226:chgData name="Michele Rocco" userId="b98ebe7a-7641-4b10-bb82-27245654a50a" providerId="ADAL" clId="{05A8CA33-8AB0-4B87-A00A-3A9C909B6976}" dt="2024-01-24T08:29:55.727" v="6551"/>
              <pc2:cmMkLst xmlns:pc2="http://schemas.microsoft.com/office/powerpoint/2019/9/main/command">
                <pc:docMk/>
                <pc:sldMk cId="4004401706" sldId="306"/>
                <pc2:cmMk id="{7EF4B918-92B8-4117-8635-D4BBFF2EC088}"/>
              </pc2:cmMkLst>
              <pc226:cmRplyChg chg="add">
                <pc226:chgData name="Michele Rocco" userId="b98ebe7a-7641-4b10-bb82-27245654a50a" providerId="ADAL" clId="{05A8CA33-8AB0-4B87-A00A-3A9C909B6976}" dt="2024-01-23T17:04:43.498" v="258"/>
                <pc2:cmRplyMkLst xmlns:pc2="http://schemas.microsoft.com/office/powerpoint/2019/9/main/command">
                  <pc:docMk/>
                  <pc:sldMk cId="4004401706" sldId="306"/>
                  <pc2:cmMk id="{7EF4B918-92B8-4117-8635-D4BBFF2EC088}"/>
                  <pc2:cmRplyMk id="{A7CA33C8-1948-40FA-BC09-AD1BBAAC6C0F}"/>
                </pc2:cmRplyMkLst>
              </pc226:cmRplyChg>
              <pc226:cmRplyChg chg="add">
                <pc226:chgData name="Michele Rocco" userId="b98ebe7a-7641-4b10-bb82-27245654a50a" providerId="ADAL" clId="{05A8CA33-8AB0-4B87-A00A-3A9C909B6976}" dt="2024-01-24T08:29:55.727" v="6551"/>
                <pc2:cmRplyMkLst xmlns:pc2="http://schemas.microsoft.com/office/powerpoint/2019/9/main/command">
                  <pc:docMk/>
                  <pc:sldMk cId="4004401706" sldId="306"/>
                  <pc2:cmMk id="{7EF4B918-92B8-4117-8635-D4BBFF2EC088}"/>
                  <pc2:cmRplyMk id="{B0347FCF-5FB8-4072-919F-E80E1E135219}"/>
                </pc2:cmRplyMkLst>
              </pc226:cmRplyChg>
            </pc226:cmChg>
          </p:ext>
        </pc:extLst>
      </pc:sldChg>
      <pc:sldChg chg="modSp mod">
        <pc:chgData name="Michele Rocco" userId="b98ebe7a-7641-4b10-bb82-27245654a50a" providerId="ADAL" clId="{05A8CA33-8AB0-4B87-A00A-3A9C909B6976}" dt="2024-01-23T16:57:00.617" v="70" actId="790"/>
        <pc:sldMkLst>
          <pc:docMk/>
          <pc:sldMk cId="3230328343" sldId="307"/>
        </pc:sldMkLst>
        <pc:spChg chg="mod">
          <ac:chgData name="Michele Rocco" userId="b98ebe7a-7641-4b10-bb82-27245654a50a" providerId="ADAL" clId="{05A8CA33-8AB0-4B87-A00A-3A9C909B6976}" dt="2024-01-23T16:57:00.616" v="68" actId="790"/>
          <ac:spMkLst>
            <pc:docMk/>
            <pc:sldMk cId="3230328343" sldId="307"/>
            <ac:spMk id="2" creationId="{05CF7369-2F65-253A-B1C2-BBEA8D8E5792}"/>
          </ac:spMkLst>
        </pc:spChg>
        <pc:spChg chg="mod">
          <ac:chgData name="Michele Rocco" userId="b98ebe7a-7641-4b10-bb82-27245654a50a" providerId="ADAL" clId="{05A8CA33-8AB0-4B87-A00A-3A9C909B6976}" dt="2024-01-23T16:57:00.617" v="69" actId="790"/>
          <ac:spMkLst>
            <pc:docMk/>
            <pc:sldMk cId="3230328343" sldId="307"/>
            <ac:spMk id="3" creationId="{62A678F7-2D06-8404-53AC-3B41A2B26D45}"/>
          </ac:spMkLst>
        </pc:spChg>
        <pc:spChg chg="mod">
          <ac:chgData name="Michele Rocco" userId="b98ebe7a-7641-4b10-bb82-27245654a50a" providerId="ADAL" clId="{05A8CA33-8AB0-4B87-A00A-3A9C909B6976}" dt="2024-01-23T16:57:00.617" v="70" actId="790"/>
          <ac:spMkLst>
            <pc:docMk/>
            <pc:sldMk cId="3230328343" sldId="307"/>
            <ac:spMk id="4" creationId="{91D9F759-CD61-E01A-B875-CBAD1A8ADAAD}"/>
          </ac:spMkLst>
        </pc:spChg>
      </pc:sldChg>
      <pc:sldChg chg="modSp mod addCm modCm">
        <pc:chgData name="Michele Rocco" userId="b98ebe7a-7641-4b10-bb82-27245654a50a" providerId="ADAL" clId="{05A8CA33-8AB0-4B87-A00A-3A9C909B6976}" dt="2024-01-24T07:18:58.105" v="1467"/>
        <pc:sldMkLst>
          <pc:docMk/>
          <pc:sldMk cId="3362905413" sldId="308"/>
        </pc:sldMkLst>
        <pc:spChg chg="mod">
          <ac:chgData name="Michele Rocco" userId="b98ebe7a-7641-4b10-bb82-27245654a50a" providerId="ADAL" clId="{05A8CA33-8AB0-4B87-A00A-3A9C909B6976}" dt="2024-01-23T16:57:00.617" v="71" actId="790"/>
          <ac:spMkLst>
            <pc:docMk/>
            <pc:sldMk cId="3362905413" sldId="308"/>
            <ac:spMk id="2" creationId="{EB4E5E96-B469-C391-2030-16DB28D7BF63}"/>
          </ac:spMkLst>
        </pc:spChg>
        <pc:spChg chg="mod">
          <ac:chgData name="Michele Rocco" userId="b98ebe7a-7641-4b10-bb82-27245654a50a" providerId="ADAL" clId="{05A8CA33-8AB0-4B87-A00A-3A9C909B6976}" dt="2024-01-23T16:57:00.617" v="72" actId="790"/>
          <ac:spMkLst>
            <pc:docMk/>
            <pc:sldMk cId="3362905413" sldId="308"/>
            <ac:spMk id="3" creationId="{912D1EE9-BEB5-DFA6-4279-4F76BD605B88}"/>
          </ac:spMkLst>
        </pc:spChg>
        <pc:spChg chg="mod">
          <ac:chgData name="Michele Rocco" userId="b98ebe7a-7641-4b10-bb82-27245654a50a" providerId="ADAL" clId="{05A8CA33-8AB0-4B87-A00A-3A9C909B6976}" dt="2024-01-23T16:57:00.617" v="73" actId="790"/>
          <ac:spMkLst>
            <pc:docMk/>
            <pc:sldMk cId="3362905413" sldId="308"/>
            <ac:spMk id="4" creationId="{8C89F5F8-4282-9880-248A-14AEB634FCF9}"/>
          </ac:spMkLst>
        </pc:spChg>
        <pc:extLst>
          <p:ext xmlns:p="http://schemas.openxmlformats.org/presentationml/2006/main" uri="{D6D511B9-2390-475A-947B-AFAB55BFBCF1}">
            <pc226:cmChg xmlns:pc226="http://schemas.microsoft.com/office/powerpoint/2022/06/main/command" chg="add mod">
              <pc226:chgData name="Michele Rocco" userId="b98ebe7a-7641-4b10-bb82-27245654a50a" providerId="ADAL" clId="{05A8CA33-8AB0-4B87-A00A-3A9C909B6976}" dt="2024-01-24T07:18:58.105" v="1467"/>
              <pc2:cmMkLst xmlns:pc2="http://schemas.microsoft.com/office/powerpoint/2019/9/main/command">
                <pc:docMk/>
                <pc:sldMk cId="3362905413" sldId="308"/>
                <pc2:cmMk id="{05023031-9D81-451E-869F-824F81EDCEE4}"/>
              </pc2:cmMkLst>
              <pc226:cmRplyChg chg="add">
                <pc226:chgData name="Michele Rocco" userId="b98ebe7a-7641-4b10-bb82-27245654a50a" providerId="ADAL" clId="{05A8CA33-8AB0-4B87-A00A-3A9C909B6976}" dt="2024-01-23T17:38:06.772" v="1169"/>
                <pc2:cmRplyMkLst xmlns:pc2="http://schemas.microsoft.com/office/powerpoint/2019/9/main/command">
                  <pc:docMk/>
                  <pc:sldMk cId="3362905413" sldId="308"/>
                  <pc2:cmMk id="{05023031-9D81-451E-869F-824F81EDCEE4}"/>
                  <pc2:cmRplyMk id="{EDFB8902-DF1C-446C-85EA-69621D5B42CB}"/>
                </pc2:cmRplyMkLst>
              </pc226:cmRplyChg>
            </pc226:cmChg>
          </p:ext>
        </pc:extLst>
      </pc:sldChg>
      <pc:sldChg chg="modSp mod">
        <pc:chgData name="Michele Rocco" userId="b98ebe7a-7641-4b10-bb82-27245654a50a" providerId="ADAL" clId="{05A8CA33-8AB0-4B87-A00A-3A9C909B6976}" dt="2024-01-23T16:57:00.622" v="85" actId="790"/>
        <pc:sldMkLst>
          <pc:docMk/>
          <pc:sldMk cId="1862611760" sldId="309"/>
        </pc:sldMkLst>
        <pc:spChg chg="mod">
          <ac:chgData name="Michele Rocco" userId="b98ebe7a-7641-4b10-bb82-27245654a50a" providerId="ADAL" clId="{05A8CA33-8AB0-4B87-A00A-3A9C909B6976}" dt="2024-01-23T16:57:00.622" v="83" actId="790"/>
          <ac:spMkLst>
            <pc:docMk/>
            <pc:sldMk cId="1862611760" sldId="309"/>
            <ac:spMk id="2" creationId="{F25E1798-44B9-E9A7-1C0B-8AB32CAA377B}"/>
          </ac:spMkLst>
        </pc:spChg>
        <pc:spChg chg="mod">
          <ac:chgData name="Michele Rocco" userId="b98ebe7a-7641-4b10-bb82-27245654a50a" providerId="ADAL" clId="{05A8CA33-8AB0-4B87-A00A-3A9C909B6976}" dt="2024-01-23T16:57:00.622" v="84" actId="790"/>
          <ac:spMkLst>
            <pc:docMk/>
            <pc:sldMk cId="1862611760" sldId="309"/>
            <ac:spMk id="3" creationId="{41E4BC4F-2D78-6B02-1168-9ABECD71B7ED}"/>
          </ac:spMkLst>
        </pc:spChg>
        <pc:spChg chg="mod">
          <ac:chgData name="Michele Rocco" userId="b98ebe7a-7641-4b10-bb82-27245654a50a" providerId="ADAL" clId="{05A8CA33-8AB0-4B87-A00A-3A9C909B6976}" dt="2024-01-23T16:57:00.622" v="85" actId="790"/>
          <ac:spMkLst>
            <pc:docMk/>
            <pc:sldMk cId="1862611760" sldId="309"/>
            <ac:spMk id="4" creationId="{A0ABF48E-89A5-B0C5-C33A-A5BD66C98035}"/>
          </ac:spMkLst>
        </pc:spChg>
      </pc:sldChg>
      <pc:sldChg chg="modSp mod">
        <pc:chgData name="Michele Rocco" userId="b98ebe7a-7641-4b10-bb82-27245654a50a" providerId="ADAL" clId="{05A8CA33-8AB0-4B87-A00A-3A9C909B6976}" dt="2024-01-23T16:57:00.622" v="82" actId="790"/>
        <pc:sldMkLst>
          <pc:docMk/>
          <pc:sldMk cId="3056404990" sldId="310"/>
        </pc:sldMkLst>
        <pc:spChg chg="mod">
          <ac:chgData name="Michele Rocco" userId="b98ebe7a-7641-4b10-bb82-27245654a50a" providerId="ADAL" clId="{05A8CA33-8AB0-4B87-A00A-3A9C909B6976}" dt="2024-01-23T16:57:00.622" v="80" actId="790"/>
          <ac:spMkLst>
            <pc:docMk/>
            <pc:sldMk cId="3056404990" sldId="310"/>
            <ac:spMk id="2" creationId="{662082BB-C9A7-C989-B91F-7342A9ACB82B}"/>
          </ac:spMkLst>
        </pc:spChg>
        <pc:spChg chg="mod">
          <ac:chgData name="Michele Rocco" userId="b98ebe7a-7641-4b10-bb82-27245654a50a" providerId="ADAL" clId="{05A8CA33-8AB0-4B87-A00A-3A9C909B6976}" dt="2024-01-23T16:57:00.622" v="81" actId="790"/>
          <ac:spMkLst>
            <pc:docMk/>
            <pc:sldMk cId="3056404990" sldId="310"/>
            <ac:spMk id="3" creationId="{A589CF3D-513F-869B-6271-13BB65B71BF6}"/>
          </ac:spMkLst>
        </pc:spChg>
        <pc:spChg chg="mod">
          <ac:chgData name="Michele Rocco" userId="b98ebe7a-7641-4b10-bb82-27245654a50a" providerId="ADAL" clId="{05A8CA33-8AB0-4B87-A00A-3A9C909B6976}" dt="2024-01-23T16:57:00.622" v="82" actId="790"/>
          <ac:spMkLst>
            <pc:docMk/>
            <pc:sldMk cId="3056404990" sldId="310"/>
            <ac:spMk id="4" creationId="{BA5243C9-C2BB-8BFE-121B-3E2B45085140}"/>
          </ac:spMkLst>
        </pc:spChg>
      </pc:sldChg>
      <pc:sldChg chg="modSp mod">
        <pc:chgData name="Michele Rocco" userId="b98ebe7a-7641-4b10-bb82-27245654a50a" providerId="ADAL" clId="{05A8CA33-8AB0-4B87-A00A-3A9C909B6976}" dt="2024-01-23T16:57:00.622" v="79" actId="790"/>
        <pc:sldMkLst>
          <pc:docMk/>
          <pc:sldMk cId="3396422946" sldId="311"/>
        </pc:sldMkLst>
        <pc:spChg chg="mod">
          <ac:chgData name="Michele Rocco" userId="b98ebe7a-7641-4b10-bb82-27245654a50a" providerId="ADAL" clId="{05A8CA33-8AB0-4B87-A00A-3A9C909B6976}" dt="2024-01-23T16:57:00.621" v="77" actId="790"/>
          <ac:spMkLst>
            <pc:docMk/>
            <pc:sldMk cId="3396422946" sldId="311"/>
            <ac:spMk id="2" creationId="{9A16C503-7AFD-C031-469E-EA35F5B3BDC7}"/>
          </ac:spMkLst>
        </pc:spChg>
        <pc:spChg chg="mod">
          <ac:chgData name="Michele Rocco" userId="b98ebe7a-7641-4b10-bb82-27245654a50a" providerId="ADAL" clId="{05A8CA33-8AB0-4B87-A00A-3A9C909B6976}" dt="2024-01-23T16:57:00.622" v="78" actId="790"/>
          <ac:spMkLst>
            <pc:docMk/>
            <pc:sldMk cId="3396422946" sldId="311"/>
            <ac:spMk id="3" creationId="{38B364D7-B999-D5A7-FC11-06050688C221}"/>
          </ac:spMkLst>
        </pc:spChg>
        <pc:spChg chg="mod">
          <ac:chgData name="Michele Rocco" userId="b98ebe7a-7641-4b10-bb82-27245654a50a" providerId="ADAL" clId="{05A8CA33-8AB0-4B87-A00A-3A9C909B6976}" dt="2024-01-23T16:57:00.622" v="79" actId="790"/>
          <ac:spMkLst>
            <pc:docMk/>
            <pc:sldMk cId="3396422946" sldId="311"/>
            <ac:spMk id="4" creationId="{F2C3791A-C8B0-C572-FB69-7B6B47469EC0}"/>
          </ac:spMkLst>
        </pc:spChg>
      </pc:sldChg>
      <pc:sldChg chg="modSp mod">
        <pc:chgData name="Michele Rocco" userId="b98ebe7a-7641-4b10-bb82-27245654a50a" providerId="ADAL" clId="{05A8CA33-8AB0-4B87-A00A-3A9C909B6976}" dt="2024-01-23T16:57:00.621" v="76" actId="790"/>
        <pc:sldMkLst>
          <pc:docMk/>
          <pc:sldMk cId="1829445697" sldId="312"/>
        </pc:sldMkLst>
        <pc:spChg chg="mod">
          <ac:chgData name="Michele Rocco" userId="b98ebe7a-7641-4b10-bb82-27245654a50a" providerId="ADAL" clId="{05A8CA33-8AB0-4B87-A00A-3A9C909B6976}" dt="2024-01-23T16:57:00.617" v="74" actId="790"/>
          <ac:spMkLst>
            <pc:docMk/>
            <pc:sldMk cId="1829445697" sldId="312"/>
            <ac:spMk id="2" creationId="{793736D8-6786-EB55-F087-EB850260E505}"/>
          </ac:spMkLst>
        </pc:spChg>
        <pc:spChg chg="mod">
          <ac:chgData name="Michele Rocco" userId="b98ebe7a-7641-4b10-bb82-27245654a50a" providerId="ADAL" clId="{05A8CA33-8AB0-4B87-A00A-3A9C909B6976}" dt="2024-01-23T16:57:00.617" v="75" actId="790"/>
          <ac:spMkLst>
            <pc:docMk/>
            <pc:sldMk cId="1829445697" sldId="312"/>
            <ac:spMk id="3" creationId="{5BF72A4A-6191-E999-9A0B-CB512B2A3546}"/>
          </ac:spMkLst>
        </pc:spChg>
        <pc:spChg chg="mod">
          <ac:chgData name="Michele Rocco" userId="b98ebe7a-7641-4b10-bb82-27245654a50a" providerId="ADAL" clId="{05A8CA33-8AB0-4B87-A00A-3A9C909B6976}" dt="2024-01-23T16:57:00.621" v="76" actId="790"/>
          <ac:spMkLst>
            <pc:docMk/>
            <pc:sldMk cId="1829445697" sldId="312"/>
            <ac:spMk id="4" creationId="{592032DC-2BC4-4330-0DFD-6AC6C47EE90B}"/>
          </ac:spMkLst>
        </pc:spChg>
      </pc:sldChg>
      <pc:sldChg chg="modSp mod">
        <pc:chgData name="Michele Rocco" userId="b98ebe7a-7641-4b10-bb82-27245654a50a" providerId="ADAL" clId="{05A8CA33-8AB0-4B87-A00A-3A9C909B6976}" dt="2024-01-23T16:57:00.636" v="89" actId="790"/>
        <pc:sldMkLst>
          <pc:docMk/>
          <pc:sldMk cId="4109715435" sldId="313"/>
        </pc:sldMkLst>
        <pc:spChg chg="mod">
          <ac:chgData name="Michele Rocco" userId="b98ebe7a-7641-4b10-bb82-27245654a50a" providerId="ADAL" clId="{05A8CA33-8AB0-4B87-A00A-3A9C909B6976}" dt="2024-01-23T16:57:00.636" v="87" actId="790"/>
          <ac:spMkLst>
            <pc:docMk/>
            <pc:sldMk cId="4109715435" sldId="313"/>
            <ac:spMk id="2" creationId="{2764E89C-42F0-7F7D-800A-DA392F66BC91}"/>
          </ac:spMkLst>
        </pc:spChg>
        <pc:spChg chg="mod">
          <ac:chgData name="Michele Rocco" userId="b98ebe7a-7641-4b10-bb82-27245654a50a" providerId="ADAL" clId="{05A8CA33-8AB0-4B87-A00A-3A9C909B6976}" dt="2024-01-23T16:57:00.636" v="88" actId="790"/>
          <ac:spMkLst>
            <pc:docMk/>
            <pc:sldMk cId="4109715435" sldId="313"/>
            <ac:spMk id="3" creationId="{937AAAB0-FB21-FB0E-A628-9C20C23B6347}"/>
          </ac:spMkLst>
        </pc:spChg>
        <pc:spChg chg="mod">
          <ac:chgData name="Michele Rocco" userId="b98ebe7a-7641-4b10-bb82-27245654a50a" providerId="ADAL" clId="{05A8CA33-8AB0-4B87-A00A-3A9C909B6976}" dt="2024-01-23T16:57:00.636" v="89" actId="790"/>
          <ac:spMkLst>
            <pc:docMk/>
            <pc:sldMk cId="4109715435" sldId="313"/>
            <ac:spMk id="4" creationId="{AAB1B8BC-4F92-6038-D555-1AD1EDEF431A}"/>
          </ac:spMkLst>
        </pc:spChg>
        <pc:spChg chg="mod">
          <ac:chgData name="Michele Rocco" userId="b98ebe7a-7641-4b10-bb82-27245654a50a" providerId="ADAL" clId="{05A8CA33-8AB0-4B87-A00A-3A9C909B6976}" dt="2024-01-23T16:57:00.633" v="86" actId="790"/>
          <ac:spMkLst>
            <pc:docMk/>
            <pc:sldMk cId="4109715435" sldId="313"/>
            <ac:spMk id="7" creationId="{8ED043E4-ED32-1DA9-33FC-E4B34D009A79}"/>
          </ac:spMkLst>
        </pc:spChg>
      </pc:sldChg>
      <pc:sldChg chg="modSp mod">
        <pc:chgData name="Michele Rocco" userId="b98ebe7a-7641-4b10-bb82-27245654a50a" providerId="ADAL" clId="{05A8CA33-8AB0-4B87-A00A-3A9C909B6976}" dt="2024-01-23T16:57:00.638" v="94" actId="790"/>
        <pc:sldMkLst>
          <pc:docMk/>
          <pc:sldMk cId="2059814184" sldId="314"/>
        </pc:sldMkLst>
        <pc:spChg chg="mod">
          <ac:chgData name="Michele Rocco" userId="b98ebe7a-7641-4b10-bb82-27245654a50a" providerId="ADAL" clId="{05A8CA33-8AB0-4B87-A00A-3A9C909B6976}" dt="2024-01-23T16:57:00.638" v="92" actId="790"/>
          <ac:spMkLst>
            <pc:docMk/>
            <pc:sldMk cId="2059814184" sldId="314"/>
            <ac:spMk id="2" creationId="{509CB6E0-7C4E-FA68-855F-FA3F11EF009A}"/>
          </ac:spMkLst>
        </pc:spChg>
        <pc:spChg chg="mod">
          <ac:chgData name="Michele Rocco" userId="b98ebe7a-7641-4b10-bb82-27245654a50a" providerId="ADAL" clId="{05A8CA33-8AB0-4B87-A00A-3A9C909B6976}" dt="2024-01-23T16:57:00.638" v="93" actId="790"/>
          <ac:spMkLst>
            <pc:docMk/>
            <pc:sldMk cId="2059814184" sldId="314"/>
            <ac:spMk id="3" creationId="{D964BEB2-F5CE-C6AE-DBE5-E711CFD480FC}"/>
          </ac:spMkLst>
        </pc:spChg>
        <pc:spChg chg="mod">
          <ac:chgData name="Michele Rocco" userId="b98ebe7a-7641-4b10-bb82-27245654a50a" providerId="ADAL" clId="{05A8CA33-8AB0-4B87-A00A-3A9C909B6976}" dt="2024-01-23T16:57:00.638" v="94" actId="790"/>
          <ac:spMkLst>
            <pc:docMk/>
            <pc:sldMk cId="2059814184" sldId="314"/>
            <ac:spMk id="4" creationId="{17D8D4C6-CC93-6C62-3C2C-3433A59A01CD}"/>
          </ac:spMkLst>
        </pc:spChg>
      </pc:sldChg>
      <pc:sldChg chg="modSp mod">
        <pc:chgData name="Michele Rocco" userId="b98ebe7a-7641-4b10-bb82-27245654a50a" providerId="ADAL" clId="{05A8CA33-8AB0-4B87-A00A-3A9C909B6976}" dt="2024-01-23T16:57:00.638" v="97" actId="790"/>
        <pc:sldMkLst>
          <pc:docMk/>
          <pc:sldMk cId="3439177903" sldId="315"/>
        </pc:sldMkLst>
        <pc:spChg chg="mod">
          <ac:chgData name="Michele Rocco" userId="b98ebe7a-7641-4b10-bb82-27245654a50a" providerId="ADAL" clId="{05A8CA33-8AB0-4B87-A00A-3A9C909B6976}" dt="2024-01-23T16:57:00.638" v="95" actId="790"/>
          <ac:spMkLst>
            <pc:docMk/>
            <pc:sldMk cId="3439177903" sldId="315"/>
            <ac:spMk id="2" creationId="{269EADC7-9785-5346-94A3-EAE0A512B506}"/>
          </ac:spMkLst>
        </pc:spChg>
        <pc:spChg chg="mod">
          <ac:chgData name="Michele Rocco" userId="b98ebe7a-7641-4b10-bb82-27245654a50a" providerId="ADAL" clId="{05A8CA33-8AB0-4B87-A00A-3A9C909B6976}" dt="2024-01-23T16:57:00.638" v="96" actId="790"/>
          <ac:spMkLst>
            <pc:docMk/>
            <pc:sldMk cId="3439177903" sldId="315"/>
            <ac:spMk id="3" creationId="{3AEB9BE1-DBDC-6865-0261-87E9C390861F}"/>
          </ac:spMkLst>
        </pc:spChg>
        <pc:spChg chg="mod">
          <ac:chgData name="Michele Rocco" userId="b98ebe7a-7641-4b10-bb82-27245654a50a" providerId="ADAL" clId="{05A8CA33-8AB0-4B87-A00A-3A9C909B6976}" dt="2024-01-23T16:57:00.638" v="97" actId="790"/>
          <ac:spMkLst>
            <pc:docMk/>
            <pc:sldMk cId="3439177903" sldId="315"/>
            <ac:spMk id="4" creationId="{1546110C-2787-52D9-DB63-2779EE687B81}"/>
          </ac:spMkLst>
        </pc:spChg>
      </pc:sldChg>
      <pc:sldChg chg="modSp mod addCm modCm">
        <pc:chgData name="Michele Rocco" userId="b98ebe7a-7641-4b10-bb82-27245654a50a" providerId="ADAL" clId="{05A8CA33-8AB0-4B87-A00A-3A9C909B6976}" dt="2024-01-24T07:54:00.496" v="2525"/>
        <pc:sldMkLst>
          <pc:docMk/>
          <pc:sldMk cId="2060001824" sldId="316"/>
        </pc:sldMkLst>
        <pc:spChg chg="mod">
          <ac:chgData name="Michele Rocco" userId="b98ebe7a-7641-4b10-bb82-27245654a50a" providerId="ADAL" clId="{05A8CA33-8AB0-4B87-A00A-3A9C909B6976}" dt="2024-01-23T16:57:00.644" v="101" actId="790"/>
          <ac:spMkLst>
            <pc:docMk/>
            <pc:sldMk cId="2060001824" sldId="316"/>
            <ac:spMk id="2" creationId="{A756B1FB-9540-2596-7D4B-27C539B10990}"/>
          </ac:spMkLst>
        </pc:spChg>
        <pc:spChg chg="mod">
          <ac:chgData name="Michele Rocco" userId="b98ebe7a-7641-4b10-bb82-27245654a50a" providerId="ADAL" clId="{05A8CA33-8AB0-4B87-A00A-3A9C909B6976}" dt="2024-01-23T16:57:00.645" v="102" actId="790"/>
          <ac:spMkLst>
            <pc:docMk/>
            <pc:sldMk cId="2060001824" sldId="316"/>
            <ac:spMk id="3" creationId="{0B31949C-26FB-610D-FC88-40F235BE7DDC}"/>
          </ac:spMkLst>
        </pc:spChg>
        <pc:spChg chg="mod">
          <ac:chgData name="Michele Rocco" userId="b98ebe7a-7641-4b10-bb82-27245654a50a" providerId="ADAL" clId="{05A8CA33-8AB0-4B87-A00A-3A9C909B6976}" dt="2024-01-23T16:57:00.645" v="103" actId="790"/>
          <ac:spMkLst>
            <pc:docMk/>
            <pc:sldMk cId="2060001824" sldId="316"/>
            <ac:spMk id="4" creationId="{BF1C61F8-8264-373D-FCEE-183CFD9A72C3}"/>
          </ac:spMkLst>
        </pc:spChg>
        <pc:extLst>
          <p:ext xmlns:p="http://schemas.openxmlformats.org/presentationml/2006/main" uri="{D6D511B9-2390-475A-947B-AFAB55BFBCF1}">
            <pc226:cmChg xmlns:pc226="http://schemas.microsoft.com/office/powerpoint/2022/06/main/command" chg="add">
              <pc226:chgData name="Michele Rocco" userId="b98ebe7a-7641-4b10-bb82-27245654a50a" providerId="ADAL" clId="{05A8CA33-8AB0-4B87-A00A-3A9C909B6976}" dt="2024-01-24T07:53:41.544" v="2524"/>
              <pc2:cmMkLst xmlns:pc2="http://schemas.microsoft.com/office/powerpoint/2019/9/main/command">
                <pc:docMk/>
                <pc:sldMk cId="2060001824" sldId="316"/>
                <pc2:cmMk id="{EB56E472-2FD7-44A6-B634-1CE338E37EBE}"/>
              </pc2:cmMkLst>
              <pc226:cmRplyChg chg="mod modRxn">
                <pc226:chgData name="Michele Rocco" userId="b98ebe7a-7641-4b10-bb82-27245654a50a" providerId="ADAL" clId="{05A8CA33-8AB0-4B87-A00A-3A9C909B6976}" dt="2024-01-24T07:53:41.544" v="2524"/>
                <pc2:cmRplyMkLst xmlns:pc2="http://schemas.microsoft.com/office/powerpoint/2019/9/main/command">
                  <pc:docMk/>
                  <pc:sldMk cId="2060001824" sldId="316"/>
                  <pc2:cmMk id="{EB56E472-2FD7-44A6-B634-1CE338E37EBE}"/>
                  <pc2:cmRplyMk id="{B3DF4DA5-65E8-47E6-B3B9-64FE597D93C3}"/>
                </pc2:cmRplyMkLst>
              </pc226:cmRplyChg>
            </pc226:cmChg>
            <pc226:cmChg xmlns:pc226="http://schemas.microsoft.com/office/powerpoint/2022/06/main/command" chg="add">
              <pc226:chgData name="Michele Rocco" userId="b98ebe7a-7641-4b10-bb82-27245654a50a" providerId="ADAL" clId="{05A8CA33-8AB0-4B87-A00A-3A9C909B6976}" dt="2024-01-24T07:54:00.496" v="2525"/>
              <pc2:cmMkLst xmlns:pc2="http://schemas.microsoft.com/office/powerpoint/2019/9/main/command">
                <pc:docMk/>
                <pc:sldMk cId="2060001824" sldId="316"/>
                <pc2:cmMk id="{64EC8879-8C64-4200-BB54-2E6B6F14DD03}"/>
              </pc2:cmMkLst>
              <pc226:cmRplyChg chg="add">
                <pc226:chgData name="Michele Rocco" userId="b98ebe7a-7641-4b10-bb82-27245654a50a" providerId="ADAL" clId="{05A8CA33-8AB0-4B87-A00A-3A9C909B6976}" dt="2024-01-24T07:54:00.496" v="2525"/>
                <pc2:cmRplyMkLst xmlns:pc2="http://schemas.microsoft.com/office/powerpoint/2019/9/main/command">
                  <pc:docMk/>
                  <pc:sldMk cId="2060001824" sldId="316"/>
                  <pc2:cmMk id="{64EC8879-8C64-4200-BB54-2E6B6F14DD03}"/>
                  <pc2:cmRplyMk id="{AC5DC7CB-F637-4211-8C04-86999DA498DC}"/>
                </pc2:cmRplyMkLst>
              </pc226:cmRplyChg>
            </pc226:cmChg>
          </p:ext>
        </pc:extLst>
      </pc:sldChg>
      <pc:sldChg chg="modSp mod">
        <pc:chgData name="Michele Rocco" userId="b98ebe7a-7641-4b10-bb82-27245654a50a" providerId="ADAL" clId="{05A8CA33-8AB0-4B87-A00A-3A9C909B6976}" dt="2024-01-23T16:57:00.644" v="100" actId="790"/>
        <pc:sldMkLst>
          <pc:docMk/>
          <pc:sldMk cId="4110969131" sldId="317"/>
        </pc:sldMkLst>
        <pc:spChg chg="mod">
          <ac:chgData name="Michele Rocco" userId="b98ebe7a-7641-4b10-bb82-27245654a50a" providerId="ADAL" clId="{05A8CA33-8AB0-4B87-A00A-3A9C909B6976}" dt="2024-01-23T16:57:00.638" v="98" actId="790"/>
          <ac:spMkLst>
            <pc:docMk/>
            <pc:sldMk cId="4110969131" sldId="317"/>
            <ac:spMk id="2" creationId="{A22F9CB1-AC90-8475-C8E1-97FF6580DE7E}"/>
          </ac:spMkLst>
        </pc:spChg>
        <pc:spChg chg="mod">
          <ac:chgData name="Michele Rocco" userId="b98ebe7a-7641-4b10-bb82-27245654a50a" providerId="ADAL" clId="{05A8CA33-8AB0-4B87-A00A-3A9C909B6976}" dt="2024-01-23T16:57:00.643" v="99" actId="790"/>
          <ac:spMkLst>
            <pc:docMk/>
            <pc:sldMk cId="4110969131" sldId="317"/>
            <ac:spMk id="3" creationId="{F0A23098-E944-A3E4-7C24-632EC5E982C2}"/>
          </ac:spMkLst>
        </pc:spChg>
        <pc:spChg chg="mod">
          <ac:chgData name="Michele Rocco" userId="b98ebe7a-7641-4b10-bb82-27245654a50a" providerId="ADAL" clId="{05A8CA33-8AB0-4B87-A00A-3A9C909B6976}" dt="2024-01-23T16:57:00.644" v="100" actId="790"/>
          <ac:spMkLst>
            <pc:docMk/>
            <pc:sldMk cId="4110969131" sldId="317"/>
            <ac:spMk id="4" creationId="{6DE4AFBB-8FDE-CF49-07E7-F13614DF9C6D}"/>
          </ac:spMkLst>
        </pc:spChg>
      </pc:sldChg>
      <pc:sldChg chg="modSp mod">
        <pc:chgData name="Michele Rocco" userId="b98ebe7a-7641-4b10-bb82-27245654a50a" providerId="ADAL" clId="{05A8CA33-8AB0-4B87-A00A-3A9C909B6976}" dt="2024-01-23T16:57:00.645" v="106" actId="790"/>
        <pc:sldMkLst>
          <pc:docMk/>
          <pc:sldMk cId="2600840893" sldId="319"/>
        </pc:sldMkLst>
        <pc:spChg chg="mod">
          <ac:chgData name="Michele Rocco" userId="b98ebe7a-7641-4b10-bb82-27245654a50a" providerId="ADAL" clId="{05A8CA33-8AB0-4B87-A00A-3A9C909B6976}" dt="2024-01-23T16:57:00.645" v="104" actId="790"/>
          <ac:spMkLst>
            <pc:docMk/>
            <pc:sldMk cId="2600840893" sldId="319"/>
            <ac:spMk id="2" creationId="{16DB9D3C-9CCE-D1F9-3064-F64D8ABE9A78}"/>
          </ac:spMkLst>
        </pc:spChg>
        <pc:spChg chg="mod">
          <ac:chgData name="Michele Rocco" userId="b98ebe7a-7641-4b10-bb82-27245654a50a" providerId="ADAL" clId="{05A8CA33-8AB0-4B87-A00A-3A9C909B6976}" dt="2024-01-23T16:57:00.645" v="105" actId="790"/>
          <ac:spMkLst>
            <pc:docMk/>
            <pc:sldMk cId="2600840893" sldId="319"/>
            <ac:spMk id="3" creationId="{1F19057B-0A97-2CB9-1B18-70019322D3DC}"/>
          </ac:spMkLst>
        </pc:spChg>
        <pc:spChg chg="mod">
          <ac:chgData name="Michele Rocco" userId="b98ebe7a-7641-4b10-bb82-27245654a50a" providerId="ADAL" clId="{05A8CA33-8AB0-4B87-A00A-3A9C909B6976}" dt="2024-01-23T16:57:00.645" v="106" actId="790"/>
          <ac:spMkLst>
            <pc:docMk/>
            <pc:sldMk cId="2600840893" sldId="319"/>
            <ac:spMk id="4" creationId="{12EB4926-D290-EE97-B8B6-FA305D64E60A}"/>
          </ac:spMkLst>
        </pc:spChg>
      </pc:sldChg>
      <pc:sldChg chg="modSp mod">
        <pc:chgData name="Michele Rocco" userId="b98ebe7a-7641-4b10-bb82-27245654a50a" providerId="ADAL" clId="{05A8CA33-8AB0-4B87-A00A-3A9C909B6976}" dt="2024-01-23T16:57:00.645" v="109" actId="790"/>
        <pc:sldMkLst>
          <pc:docMk/>
          <pc:sldMk cId="2371849535" sldId="320"/>
        </pc:sldMkLst>
        <pc:spChg chg="mod">
          <ac:chgData name="Michele Rocco" userId="b98ebe7a-7641-4b10-bb82-27245654a50a" providerId="ADAL" clId="{05A8CA33-8AB0-4B87-A00A-3A9C909B6976}" dt="2024-01-23T16:57:00.645" v="107" actId="790"/>
          <ac:spMkLst>
            <pc:docMk/>
            <pc:sldMk cId="2371849535" sldId="320"/>
            <ac:spMk id="2" creationId="{5E0C03EA-E9A5-1D99-BB3A-CD23664A6BC5}"/>
          </ac:spMkLst>
        </pc:spChg>
        <pc:spChg chg="mod">
          <ac:chgData name="Michele Rocco" userId="b98ebe7a-7641-4b10-bb82-27245654a50a" providerId="ADAL" clId="{05A8CA33-8AB0-4B87-A00A-3A9C909B6976}" dt="2024-01-23T16:57:00.645" v="108" actId="790"/>
          <ac:spMkLst>
            <pc:docMk/>
            <pc:sldMk cId="2371849535" sldId="320"/>
            <ac:spMk id="3" creationId="{661B814A-9DC5-69DB-B931-CB393FE31292}"/>
          </ac:spMkLst>
        </pc:spChg>
        <pc:spChg chg="mod">
          <ac:chgData name="Michele Rocco" userId="b98ebe7a-7641-4b10-bb82-27245654a50a" providerId="ADAL" clId="{05A8CA33-8AB0-4B87-A00A-3A9C909B6976}" dt="2024-01-23T16:57:00.645" v="109" actId="790"/>
          <ac:spMkLst>
            <pc:docMk/>
            <pc:sldMk cId="2371849535" sldId="320"/>
            <ac:spMk id="4" creationId="{ADF60A34-F67C-9E2C-7FA5-7CE36C44813D}"/>
          </ac:spMkLst>
        </pc:spChg>
      </pc:sldChg>
      <pc:sldChg chg="modSp mod">
        <pc:chgData name="Michele Rocco" userId="b98ebe7a-7641-4b10-bb82-27245654a50a" providerId="ADAL" clId="{05A8CA33-8AB0-4B87-A00A-3A9C909B6976}" dt="2024-01-23T16:57:00.547" v="8" actId="790"/>
        <pc:sldMkLst>
          <pc:docMk/>
          <pc:sldMk cId="532413471" sldId="321"/>
        </pc:sldMkLst>
        <pc:spChg chg="mod">
          <ac:chgData name="Michele Rocco" userId="b98ebe7a-7641-4b10-bb82-27245654a50a" providerId="ADAL" clId="{05A8CA33-8AB0-4B87-A00A-3A9C909B6976}" dt="2024-01-23T16:57:00.547" v="8" actId="790"/>
          <ac:spMkLst>
            <pc:docMk/>
            <pc:sldMk cId="532413471" sldId="321"/>
            <ac:spMk id="3" creationId="{90D17616-C6F6-5E72-B3B8-B8737DA3DB23}"/>
          </ac:spMkLst>
        </pc:spChg>
        <pc:spChg chg="mod">
          <ac:chgData name="Michele Rocco" userId="b98ebe7a-7641-4b10-bb82-27245654a50a" providerId="ADAL" clId="{05A8CA33-8AB0-4B87-A00A-3A9C909B6976}" dt="2024-01-23T16:57:00.547" v="7" actId="790"/>
          <ac:spMkLst>
            <pc:docMk/>
            <pc:sldMk cId="532413471" sldId="321"/>
            <ac:spMk id="4" creationId="{1AC29BDC-7CB8-266E-07CF-D9D5D9169AC3}"/>
          </ac:spMkLst>
        </pc:spChg>
      </pc:sldChg>
      <pc:sldChg chg="modSp mod">
        <pc:chgData name="Michele Rocco" userId="b98ebe7a-7641-4b10-bb82-27245654a50a" providerId="ADAL" clId="{05A8CA33-8AB0-4B87-A00A-3A9C909B6976}" dt="2024-01-23T16:57:00.602" v="44" actId="790"/>
        <pc:sldMkLst>
          <pc:docMk/>
          <pc:sldMk cId="902660526" sldId="322"/>
        </pc:sldMkLst>
        <pc:spChg chg="mod">
          <ac:chgData name="Michele Rocco" userId="b98ebe7a-7641-4b10-bb82-27245654a50a" providerId="ADAL" clId="{05A8CA33-8AB0-4B87-A00A-3A9C909B6976}" dt="2024-01-23T16:57:00.602" v="44" actId="790"/>
          <ac:spMkLst>
            <pc:docMk/>
            <pc:sldMk cId="902660526" sldId="322"/>
            <ac:spMk id="3" creationId="{90D17616-C6F6-5E72-B3B8-B8737DA3DB23}"/>
          </ac:spMkLst>
        </pc:spChg>
        <pc:spChg chg="mod">
          <ac:chgData name="Michele Rocco" userId="b98ebe7a-7641-4b10-bb82-27245654a50a" providerId="ADAL" clId="{05A8CA33-8AB0-4B87-A00A-3A9C909B6976}" dt="2024-01-23T16:57:00.602" v="43" actId="790"/>
          <ac:spMkLst>
            <pc:docMk/>
            <pc:sldMk cId="902660526" sldId="322"/>
            <ac:spMk id="4" creationId="{1AC29BDC-7CB8-266E-07CF-D9D5D9169AC3}"/>
          </ac:spMkLst>
        </pc:spChg>
      </pc:sldChg>
      <pc:sldChg chg="modSp mod">
        <pc:chgData name="Michele Rocco" userId="b98ebe7a-7641-4b10-bb82-27245654a50a" providerId="ADAL" clId="{05A8CA33-8AB0-4B87-A00A-3A9C909B6976}" dt="2024-01-23T16:57:00.616" v="67" actId="790"/>
        <pc:sldMkLst>
          <pc:docMk/>
          <pc:sldMk cId="3702300545" sldId="323"/>
        </pc:sldMkLst>
        <pc:spChg chg="mod">
          <ac:chgData name="Michele Rocco" userId="b98ebe7a-7641-4b10-bb82-27245654a50a" providerId="ADAL" clId="{05A8CA33-8AB0-4B87-A00A-3A9C909B6976}" dt="2024-01-23T16:57:00.616" v="67" actId="790"/>
          <ac:spMkLst>
            <pc:docMk/>
            <pc:sldMk cId="3702300545" sldId="323"/>
            <ac:spMk id="3" creationId="{90D17616-C6F6-5E72-B3B8-B8737DA3DB23}"/>
          </ac:spMkLst>
        </pc:spChg>
        <pc:spChg chg="mod">
          <ac:chgData name="Michele Rocco" userId="b98ebe7a-7641-4b10-bb82-27245654a50a" providerId="ADAL" clId="{05A8CA33-8AB0-4B87-A00A-3A9C909B6976}" dt="2024-01-23T16:57:00.613" v="66" actId="790"/>
          <ac:spMkLst>
            <pc:docMk/>
            <pc:sldMk cId="3702300545" sldId="323"/>
            <ac:spMk id="4" creationId="{1AC29BDC-7CB8-266E-07CF-D9D5D9169AC3}"/>
          </ac:spMkLst>
        </pc:spChg>
      </pc:sldChg>
      <pc:sldChg chg="modSp mod">
        <pc:chgData name="Michele Rocco" userId="b98ebe7a-7641-4b10-bb82-27245654a50a" providerId="ADAL" clId="{05A8CA33-8AB0-4B87-A00A-3A9C909B6976}" dt="2024-01-23T16:57:00.638" v="91" actId="790"/>
        <pc:sldMkLst>
          <pc:docMk/>
          <pc:sldMk cId="2885120835" sldId="324"/>
        </pc:sldMkLst>
        <pc:spChg chg="mod">
          <ac:chgData name="Michele Rocco" userId="b98ebe7a-7641-4b10-bb82-27245654a50a" providerId="ADAL" clId="{05A8CA33-8AB0-4B87-A00A-3A9C909B6976}" dt="2024-01-23T16:57:00.638" v="91" actId="790"/>
          <ac:spMkLst>
            <pc:docMk/>
            <pc:sldMk cId="2885120835" sldId="324"/>
            <ac:spMk id="3" creationId="{90D17616-C6F6-5E72-B3B8-B8737DA3DB23}"/>
          </ac:spMkLst>
        </pc:spChg>
        <pc:spChg chg="mod">
          <ac:chgData name="Michele Rocco" userId="b98ebe7a-7641-4b10-bb82-27245654a50a" providerId="ADAL" clId="{05A8CA33-8AB0-4B87-A00A-3A9C909B6976}" dt="2024-01-23T16:57:00.638" v="90" actId="790"/>
          <ac:spMkLst>
            <pc:docMk/>
            <pc:sldMk cId="2885120835" sldId="324"/>
            <ac:spMk id="4" creationId="{1AC29BDC-7CB8-266E-07CF-D9D5D9169AC3}"/>
          </ac:spMkLst>
        </pc:spChg>
      </pc:sldChg>
      <pc:sldChg chg="modSp mod">
        <pc:chgData name="Michele Rocco" userId="b98ebe7a-7641-4b10-bb82-27245654a50a" providerId="ADAL" clId="{05A8CA33-8AB0-4B87-A00A-3A9C909B6976}" dt="2024-01-23T16:57:00.652" v="111" actId="790"/>
        <pc:sldMkLst>
          <pc:docMk/>
          <pc:sldMk cId="2835239964" sldId="325"/>
        </pc:sldMkLst>
        <pc:spChg chg="mod">
          <ac:chgData name="Michele Rocco" userId="b98ebe7a-7641-4b10-bb82-27245654a50a" providerId="ADAL" clId="{05A8CA33-8AB0-4B87-A00A-3A9C909B6976}" dt="2024-01-23T16:57:00.652" v="111" actId="790"/>
          <ac:spMkLst>
            <pc:docMk/>
            <pc:sldMk cId="2835239964" sldId="325"/>
            <ac:spMk id="3" creationId="{90D17616-C6F6-5E72-B3B8-B8737DA3DB23}"/>
          </ac:spMkLst>
        </pc:spChg>
        <pc:spChg chg="mod">
          <ac:chgData name="Michele Rocco" userId="b98ebe7a-7641-4b10-bb82-27245654a50a" providerId="ADAL" clId="{05A8CA33-8AB0-4B87-A00A-3A9C909B6976}" dt="2024-01-23T16:57:00.645" v="110" actId="790"/>
          <ac:spMkLst>
            <pc:docMk/>
            <pc:sldMk cId="2835239964" sldId="325"/>
            <ac:spMk id="4" creationId="{1AC29BDC-7CB8-266E-07CF-D9D5D9169AC3}"/>
          </ac:spMkLst>
        </pc:spChg>
      </pc:sldChg>
      <pc:sldChg chg="modSp mod">
        <pc:chgData name="Michele Rocco" userId="b98ebe7a-7641-4b10-bb82-27245654a50a" providerId="ADAL" clId="{05A8CA33-8AB0-4B87-A00A-3A9C909B6976}" dt="2024-01-23T16:57:00.654" v="115" actId="790"/>
        <pc:sldMkLst>
          <pc:docMk/>
          <pc:sldMk cId="1343076952" sldId="326"/>
        </pc:sldMkLst>
        <pc:spChg chg="mod">
          <ac:chgData name="Michele Rocco" userId="b98ebe7a-7641-4b10-bb82-27245654a50a" providerId="ADAL" clId="{05A8CA33-8AB0-4B87-A00A-3A9C909B6976}" dt="2024-01-23T16:57:00.652" v="112" actId="790"/>
          <ac:spMkLst>
            <pc:docMk/>
            <pc:sldMk cId="1343076952" sldId="326"/>
            <ac:spMk id="2" creationId="{145C7072-5EF5-6DF5-5FAB-D140D0531EC4}"/>
          </ac:spMkLst>
        </pc:spChg>
        <pc:spChg chg="mod">
          <ac:chgData name="Michele Rocco" userId="b98ebe7a-7641-4b10-bb82-27245654a50a" providerId="ADAL" clId="{05A8CA33-8AB0-4B87-A00A-3A9C909B6976}" dt="2024-01-23T16:57:00.653" v="113" actId="790"/>
          <ac:spMkLst>
            <pc:docMk/>
            <pc:sldMk cId="1343076952" sldId="326"/>
            <ac:spMk id="3" creationId="{29BDDA70-D7E3-C17F-663E-2B5F6669930B}"/>
          </ac:spMkLst>
        </pc:spChg>
        <pc:spChg chg="mod">
          <ac:chgData name="Michele Rocco" userId="b98ebe7a-7641-4b10-bb82-27245654a50a" providerId="ADAL" clId="{05A8CA33-8AB0-4B87-A00A-3A9C909B6976}" dt="2024-01-23T16:57:00.653" v="114" actId="790"/>
          <ac:spMkLst>
            <pc:docMk/>
            <pc:sldMk cId="1343076952" sldId="326"/>
            <ac:spMk id="4" creationId="{35FF5FA8-2F2B-E553-D5D8-7A3D9D161BC3}"/>
          </ac:spMkLst>
        </pc:spChg>
        <pc:spChg chg="mod">
          <ac:chgData name="Michele Rocco" userId="b98ebe7a-7641-4b10-bb82-27245654a50a" providerId="ADAL" clId="{05A8CA33-8AB0-4B87-A00A-3A9C909B6976}" dt="2024-01-23T16:57:00.654" v="115" actId="790"/>
          <ac:spMkLst>
            <pc:docMk/>
            <pc:sldMk cId="1343076952" sldId="326"/>
            <ac:spMk id="5" creationId="{19622A6B-51E6-AC35-010A-AF1AAB6B1767}"/>
          </ac:spMkLst>
        </pc:spChg>
      </pc:sldChg>
      <pc:sldChg chg="addSp delSp modSp new mod modClrScheme chgLayout modNotesTx">
        <pc:chgData name="Michele Rocco" userId="b98ebe7a-7641-4b10-bb82-27245654a50a" providerId="ADAL" clId="{05A8CA33-8AB0-4B87-A00A-3A9C909B6976}" dt="2024-01-24T08:06:29.990" v="3547" actId="20577"/>
        <pc:sldMkLst>
          <pc:docMk/>
          <pc:sldMk cId="1867967926" sldId="327"/>
        </pc:sldMkLst>
        <pc:spChg chg="mod ord">
          <ac:chgData name="Michele Rocco" userId="b98ebe7a-7641-4b10-bb82-27245654a50a" providerId="ADAL" clId="{05A8CA33-8AB0-4B87-A00A-3A9C909B6976}" dt="2024-01-23T16:59:15.821" v="185" actId="700"/>
          <ac:spMkLst>
            <pc:docMk/>
            <pc:sldMk cId="1867967926" sldId="327"/>
            <ac:spMk id="2" creationId="{34E35DDA-B160-2AC2-54A4-CBDB319C8517}"/>
          </ac:spMkLst>
        </pc:spChg>
        <pc:spChg chg="mod ord">
          <ac:chgData name="Michele Rocco" userId="b98ebe7a-7641-4b10-bb82-27245654a50a" providerId="ADAL" clId="{05A8CA33-8AB0-4B87-A00A-3A9C909B6976}" dt="2024-01-23T16:59:15.821" v="185" actId="700"/>
          <ac:spMkLst>
            <pc:docMk/>
            <pc:sldMk cId="1867967926" sldId="327"/>
            <ac:spMk id="3" creationId="{C6545697-8F02-7502-B5CD-86ED2AEC9286}"/>
          </ac:spMkLst>
        </pc:spChg>
        <pc:spChg chg="mod ord">
          <ac:chgData name="Michele Rocco" userId="b98ebe7a-7641-4b10-bb82-27245654a50a" providerId="ADAL" clId="{05A8CA33-8AB0-4B87-A00A-3A9C909B6976}" dt="2024-01-23T16:59:15.821" v="185" actId="700"/>
          <ac:spMkLst>
            <pc:docMk/>
            <pc:sldMk cId="1867967926" sldId="327"/>
            <ac:spMk id="4" creationId="{851A479E-D944-5C30-75C5-C9D68F2EAD92}"/>
          </ac:spMkLst>
        </pc:spChg>
        <pc:spChg chg="add mod ord">
          <ac:chgData name="Michele Rocco" userId="b98ebe7a-7641-4b10-bb82-27245654a50a" providerId="ADAL" clId="{05A8CA33-8AB0-4B87-A00A-3A9C909B6976}" dt="2024-01-24T07:58:18.564" v="2586" actId="20577"/>
          <ac:spMkLst>
            <pc:docMk/>
            <pc:sldMk cId="1867967926" sldId="327"/>
            <ac:spMk id="5" creationId="{9EF8758A-CB2F-D621-8BFB-56049135185C}"/>
          </ac:spMkLst>
        </pc:spChg>
        <pc:spChg chg="add del mod">
          <ac:chgData name="Michele Rocco" userId="b98ebe7a-7641-4b10-bb82-27245654a50a" providerId="ADAL" clId="{05A8CA33-8AB0-4B87-A00A-3A9C909B6976}" dt="2024-01-23T18:41:44.195" v="1215" actId="478"/>
          <ac:spMkLst>
            <pc:docMk/>
            <pc:sldMk cId="1867967926" sldId="327"/>
            <ac:spMk id="10" creationId="{FA2218D0-B8A8-360C-F950-3272B884EB27}"/>
          </ac:spMkLst>
        </pc:spChg>
        <pc:spChg chg="add mod">
          <ac:chgData name="Michele Rocco" userId="b98ebe7a-7641-4b10-bb82-27245654a50a" providerId="ADAL" clId="{05A8CA33-8AB0-4B87-A00A-3A9C909B6976}" dt="2024-01-23T18:54:39.219" v="1332" actId="1076"/>
          <ac:spMkLst>
            <pc:docMk/>
            <pc:sldMk cId="1867967926" sldId="327"/>
            <ac:spMk id="13" creationId="{8E61545D-F03B-2A2C-74E9-34C76939388F}"/>
          </ac:spMkLst>
        </pc:spChg>
        <pc:picChg chg="add mod">
          <ac:chgData name="Michele Rocco" userId="b98ebe7a-7641-4b10-bb82-27245654a50a" providerId="ADAL" clId="{05A8CA33-8AB0-4B87-A00A-3A9C909B6976}" dt="2024-01-23T17:01:57.207" v="242" actId="931"/>
          <ac:picMkLst>
            <pc:docMk/>
            <pc:sldMk cId="1867967926" sldId="327"/>
            <ac:picMk id="7" creationId="{1BED42F4-EBAD-5CA6-8B4D-7DD9991E7EC8}"/>
          </ac:picMkLst>
        </pc:picChg>
        <pc:picChg chg="add mod">
          <ac:chgData name="Michele Rocco" userId="b98ebe7a-7641-4b10-bb82-27245654a50a" providerId="ADAL" clId="{05A8CA33-8AB0-4B87-A00A-3A9C909B6976}" dt="2024-01-23T18:54:27.663" v="1331" actId="1076"/>
          <ac:picMkLst>
            <pc:docMk/>
            <pc:sldMk cId="1867967926" sldId="327"/>
            <ac:picMk id="9" creationId="{B8DD1FF0-2E1D-12DD-ED4E-CDD114CF53CD}"/>
          </ac:picMkLst>
        </pc:picChg>
        <pc:picChg chg="add mod">
          <ac:chgData name="Michele Rocco" userId="b98ebe7a-7641-4b10-bb82-27245654a50a" providerId="ADAL" clId="{05A8CA33-8AB0-4B87-A00A-3A9C909B6976}" dt="2024-01-23T18:49:14.596" v="1263" actId="1076"/>
          <ac:picMkLst>
            <pc:docMk/>
            <pc:sldMk cId="1867967926" sldId="327"/>
            <ac:picMk id="12" creationId="{6ECB3B52-097E-E43B-2F81-F8AD4B73B403}"/>
          </ac:picMkLst>
        </pc:picChg>
      </pc:sldChg>
      <pc:sldChg chg="addSp delSp modSp new mod modNotesTx">
        <pc:chgData name="Michele Rocco" userId="b98ebe7a-7641-4b10-bb82-27245654a50a" providerId="ADAL" clId="{05A8CA33-8AB0-4B87-A00A-3A9C909B6976}" dt="2024-01-24T08:28:32.718" v="6550" actId="20577"/>
        <pc:sldMkLst>
          <pc:docMk/>
          <pc:sldMk cId="938758504" sldId="328"/>
        </pc:sldMkLst>
        <pc:spChg chg="mod">
          <ac:chgData name="Michele Rocco" userId="b98ebe7a-7641-4b10-bb82-27245654a50a" providerId="ADAL" clId="{05A8CA33-8AB0-4B87-A00A-3A9C909B6976}" dt="2024-01-23T17:20:24.967" v="875" actId="20577"/>
          <ac:spMkLst>
            <pc:docMk/>
            <pc:sldMk cId="938758504" sldId="328"/>
            <ac:spMk id="2" creationId="{47950766-BA22-3A95-CBEF-5A83B30DC979}"/>
          </ac:spMkLst>
        </pc:spChg>
        <pc:spChg chg="mod">
          <ac:chgData name="Michele Rocco" userId="b98ebe7a-7641-4b10-bb82-27245654a50a" providerId="ADAL" clId="{05A8CA33-8AB0-4B87-A00A-3A9C909B6976}" dt="2024-01-23T17:08:01.974" v="396" actId="20577"/>
          <ac:spMkLst>
            <pc:docMk/>
            <pc:sldMk cId="938758504" sldId="328"/>
            <ac:spMk id="3" creationId="{F0C5D8A6-3440-2145-C1F5-DB3C438433BD}"/>
          </ac:spMkLst>
        </pc:spChg>
        <pc:spChg chg="add del mod">
          <ac:chgData name="Michele Rocco" userId="b98ebe7a-7641-4b10-bb82-27245654a50a" providerId="ADAL" clId="{05A8CA33-8AB0-4B87-A00A-3A9C909B6976}" dt="2024-01-23T17:32:29.104" v="1069" actId="478"/>
          <ac:spMkLst>
            <pc:docMk/>
            <pc:sldMk cId="938758504" sldId="328"/>
            <ac:spMk id="8" creationId="{F7140CBA-40F9-FEDC-015C-FE2D21C56117}"/>
          </ac:spMkLst>
        </pc:spChg>
        <pc:spChg chg="add mod">
          <ac:chgData name="Michele Rocco" userId="b98ebe7a-7641-4b10-bb82-27245654a50a" providerId="ADAL" clId="{05A8CA33-8AB0-4B87-A00A-3A9C909B6976}" dt="2024-01-23T17:36:42.593" v="1116" actId="2085"/>
          <ac:spMkLst>
            <pc:docMk/>
            <pc:sldMk cId="938758504" sldId="328"/>
            <ac:spMk id="9" creationId="{3C96DC06-5653-10FC-3517-47D6BC3FA8E7}"/>
          </ac:spMkLst>
        </pc:spChg>
        <pc:spChg chg="add mod">
          <ac:chgData name="Michele Rocco" userId="b98ebe7a-7641-4b10-bb82-27245654a50a" providerId="ADAL" clId="{05A8CA33-8AB0-4B87-A00A-3A9C909B6976}" dt="2024-01-23T17:36:42.593" v="1116" actId="2085"/>
          <ac:spMkLst>
            <pc:docMk/>
            <pc:sldMk cId="938758504" sldId="328"/>
            <ac:spMk id="15" creationId="{D4F6A066-CAA6-ABD4-26F8-74C3442183B7}"/>
          </ac:spMkLst>
        </pc:spChg>
        <pc:spChg chg="add del mod">
          <ac:chgData name="Michele Rocco" userId="b98ebe7a-7641-4b10-bb82-27245654a50a" providerId="ADAL" clId="{05A8CA33-8AB0-4B87-A00A-3A9C909B6976}" dt="2024-01-23T17:35:34.403" v="1106" actId="478"/>
          <ac:spMkLst>
            <pc:docMk/>
            <pc:sldMk cId="938758504" sldId="328"/>
            <ac:spMk id="34" creationId="{61C40655-00EF-35B7-F541-F0E8169AD99D}"/>
          </ac:spMkLst>
        </pc:spChg>
        <pc:spChg chg="add mod">
          <ac:chgData name="Michele Rocco" userId="b98ebe7a-7641-4b10-bb82-27245654a50a" providerId="ADAL" clId="{05A8CA33-8AB0-4B87-A00A-3A9C909B6976}" dt="2024-01-23T17:37:10.091" v="1134" actId="1076"/>
          <ac:spMkLst>
            <pc:docMk/>
            <pc:sldMk cId="938758504" sldId="328"/>
            <ac:spMk id="35" creationId="{2ECF63C3-BC97-1D55-3803-1B0E05F5B46D}"/>
          </ac:spMkLst>
        </pc:spChg>
        <pc:spChg chg="add mod">
          <ac:chgData name="Michele Rocco" userId="b98ebe7a-7641-4b10-bb82-27245654a50a" providerId="ADAL" clId="{05A8CA33-8AB0-4B87-A00A-3A9C909B6976}" dt="2024-01-23T17:36:35.203" v="1115" actId="208"/>
          <ac:spMkLst>
            <pc:docMk/>
            <pc:sldMk cId="938758504" sldId="328"/>
            <ac:spMk id="36" creationId="{09533E72-A152-C819-76D9-47ACD68BFC31}"/>
          </ac:spMkLst>
        </pc:spChg>
        <pc:spChg chg="add del mod">
          <ac:chgData name="Michele Rocco" userId="b98ebe7a-7641-4b10-bb82-27245654a50a" providerId="ADAL" clId="{05A8CA33-8AB0-4B87-A00A-3A9C909B6976}" dt="2024-01-23T17:40:00.174" v="1193" actId="478"/>
          <ac:spMkLst>
            <pc:docMk/>
            <pc:sldMk cId="938758504" sldId="328"/>
            <ac:spMk id="37" creationId="{914E3CF3-7C84-41E8-9F66-3996E14D8D50}"/>
          </ac:spMkLst>
        </pc:spChg>
        <pc:spChg chg="add mod">
          <ac:chgData name="Michele Rocco" userId="b98ebe7a-7641-4b10-bb82-27245654a50a" providerId="ADAL" clId="{05A8CA33-8AB0-4B87-A00A-3A9C909B6976}" dt="2024-01-23T17:39:56.522" v="1192" actId="1076"/>
          <ac:spMkLst>
            <pc:docMk/>
            <pc:sldMk cId="938758504" sldId="328"/>
            <ac:spMk id="38" creationId="{475E9FF4-1397-C65B-28D4-60DD1AEFD51A}"/>
          </ac:spMkLst>
        </pc:spChg>
        <pc:spChg chg="add mod">
          <ac:chgData name="Michele Rocco" userId="b98ebe7a-7641-4b10-bb82-27245654a50a" providerId="ADAL" clId="{05A8CA33-8AB0-4B87-A00A-3A9C909B6976}" dt="2024-01-23T17:40:15.501" v="1214" actId="1076"/>
          <ac:spMkLst>
            <pc:docMk/>
            <pc:sldMk cId="938758504" sldId="328"/>
            <ac:spMk id="39" creationId="{3335312D-DD6F-1004-7FCD-39948A7A2251}"/>
          </ac:spMkLst>
        </pc:spChg>
        <pc:picChg chg="add mod">
          <ac:chgData name="Michele Rocco" userId="b98ebe7a-7641-4b10-bb82-27245654a50a" providerId="ADAL" clId="{05A8CA33-8AB0-4B87-A00A-3A9C909B6976}" dt="2024-01-23T17:30:19.257" v="1056" actId="1076"/>
          <ac:picMkLst>
            <pc:docMk/>
            <pc:sldMk cId="938758504" sldId="328"/>
            <ac:picMk id="7" creationId="{C63B432D-1618-47F9-6190-D22562396391}"/>
          </ac:picMkLst>
        </pc:picChg>
        <pc:cxnChg chg="add del mod">
          <ac:chgData name="Michele Rocco" userId="b98ebe7a-7641-4b10-bb82-27245654a50a" providerId="ADAL" clId="{05A8CA33-8AB0-4B87-A00A-3A9C909B6976}" dt="2024-01-23T17:31:38.489" v="1063" actId="478"/>
          <ac:cxnSpMkLst>
            <pc:docMk/>
            <pc:sldMk cId="938758504" sldId="328"/>
            <ac:cxnSpMk id="11" creationId="{59485E3F-D021-019E-E4D8-78B6A0BCF289}"/>
          </ac:cxnSpMkLst>
        </pc:cxnChg>
        <pc:cxnChg chg="add del mod">
          <ac:chgData name="Michele Rocco" userId="b98ebe7a-7641-4b10-bb82-27245654a50a" providerId="ADAL" clId="{05A8CA33-8AB0-4B87-A00A-3A9C909B6976}" dt="2024-01-23T17:36:07.282" v="1111" actId="478"/>
          <ac:cxnSpMkLst>
            <pc:docMk/>
            <pc:sldMk cId="938758504" sldId="328"/>
            <ac:cxnSpMk id="13" creationId="{552B8F3C-B701-2323-709B-E22A76A1B737}"/>
          </ac:cxnSpMkLst>
        </pc:cxnChg>
        <pc:cxnChg chg="add del mod">
          <ac:chgData name="Michele Rocco" userId="b98ebe7a-7641-4b10-bb82-27245654a50a" providerId="ADAL" clId="{05A8CA33-8AB0-4B87-A00A-3A9C909B6976}" dt="2024-01-23T17:35:26.357" v="1104" actId="478"/>
          <ac:cxnSpMkLst>
            <pc:docMk/>
            <pc:sldMk cId="938758504" sldId="328"/>
            <ac:cxnSpMk id="16" creationId="{C81CE0AA-2871-0C98-A9CB-82E72ADF7625}"/>
          </ac:cxnSpMkLst>
        </pc:cxnChg>
      </pc:sldChg>
      <pc:sldChg chg="addSp delSp modSp new mod modNotesTx">
        <pc:chgData name="Michele Rocco" userId="b98ebe7a-7641-4b10-bb82-27245654a50a" providerId="ADAL" clId="{05A8CA33-8AB0-4B87-A00A-3A9C909B6976}" dt="2024-01-24T09:20:27.618" v="10653" actId="20577"/>
        <pc:sldMkLst>
          <pc:docMk/>
          <pc:sldMk cId="2267554649" sldId="329"/>
        </pc:sldMkLst>
        <pc:spChg chg="mod">
          <ac:chgData name="Michele Rocco" userId="b98ebe7a-7641-4b10-bb82-27245654a50a" providerId="ADAL" clId="{05A8CA33-8AB0-4B87-A00A-3A9C909B6976}" dt="2024-01-23T17:20:28.268" v="877" actId="20577"/>
          <ac:spMkLst>
            <pc:docMk/>
            <pc:sldMk cId="2267554649" sldId="329"/>
            <ac:spMk id="2" creationId="{254375E0-7A99-3D11-79B2-1C409CF07FE9}"/>
          </ac:spMkLst>
        </pc:spChg>
        <pc:spChg chg="mod">
          <ac:chgData name="Michele Rocco" userId="b98ebe7a-7641-4b10-bb82-27245654a50a" providerId="ADAL" clId="{05A8CA33-8AB0-4B87-A00A-3A9C909B6976}" dt="2024-01-23T17:14:14.479" v="626" actId="20577"/>
          <ac:spMkLst>
            <pc:docMk/>
            <pc:sldMk cId="2267554649" sldId="329"/>
            <ac:spMk id="3" creationId="{13857E85-04F9-FB6C-53D3-ACDF17313AD7}"/>
          </ac:spMkLst>
        </pc:spChg>
        <pc:spChg chg="add mod">
          <ac:chgData name="Michele Rocco" userId="b98ebe7a-7641-4b10-bb82-27245654a50a" providerId="ADAL" clId="{05A8CA33-8AB0-4B87-A00A-3A9C909B6976}" dt="2024-01-23T19:15:39.984" v="1445" actId="1076"/>
          <ac:spMkLst>
            <pc:docMk/>
            <pc:sldMk cId="2267554649" sldId="329"/>
            <ac:spMk id="27" creationId="{0350584C-1E6A-2752-2520-8B12F4EB8893}"/>
          </ac:spMkLst>
        </pc:spChg>
        <pc:grpChg chg="add del mod">
          <ac:chgData name="Michele Rocco" userId="b98ebe7a-7641-4b10-bb82-27245654a50a" providerId="ADAL" clId="{05A8CA33-8AB0-4B87-A00A-3A9C909B6976}" dt="2024-01-23T18:49:25.514" v="1264" actId="478"/>
          <ac:grpSpMkLst>
            <pc:docMk/>
            <pc:sldMk cId="2267554649" sldId="329"/>
            <ac:grpSpMk id="7" creationId="{B332A108-FEA7-1C5D-3953-DD37146B2373}"/>
          </ac:grpSpMkLst>
        </pc:grpChg>
        <pc:grpChg chg="add del mod">
          <ac:chgData name="Michele Rocco" userId="b98ebe7a-7641-4b10-bb82-27245654a50a" providerId="ADAL" clId="{05A8CA33-8AB0-4B87-A00A-3A9C909B6976}" dt="2024-01-23T18:49:25.514" v="1264" actId="478"/>
          <ac:grpSpMkLst>
            <pc:docMk/>
            <pc:sldMk cId="2267554649" sldId="329"/>
            <ac:grpSpMk id="19" creationId="{31EE52FA-5C03-01AF-A6EE-E90010E108FF}"/>
          </ac:grpSpMkLst>
        </pc:grpChg>
        <pc:grpChg chg="add del mod">
          <ac:chgData name="Michele Rocco" userId="b98ebe7a-7641-4b10-bb82-27245654a50a" providerId="ADAL" clId="{05A8CA33-8AB0-4B87-A00A-3A9C909B6976}" dt="2024-01-23T18:49:25.514" v="1264" actId="478"/>
          <ac:grpSpMkLst>
            <pc:docMk/>
            <pc:sldMk cId="2267554649" sldId="329"/>
            <ac:grpSpMk id="23" creationId="{FB88212F-942F-AD93-1CE9-B766BE1650AE}"/>
          </ac:grpSpMkLst>
        </pc:grpChg>
        <pc:picChg chg="add del mod">
          <ac:chgData name="Michele Rocco" userId="b98ebe7a-7641-4b10-bb82-27245654a50a" providerId="ADAL" clId="{05A8CA33-8AB0-4B87-A00A-3A9C909B6976}" dt="2024-01-23T19:14:57.718" v="1434" actId="478"/>
          <ac:picMkLst>
            <pc:docMk/>
            <pc:sldMk cId="2267554649" sldId="329"/>
            <ac:picMk id="6" creationId="{080C6470-993A-5760-B983-8CBFB223CDB1}"/>
          </ac:picMkLst>
        </pc:picChg>
        <pc:picChg chg="add mod">
          <ac:chgData name="Michele Rocco" userId="b98ebe7a-7641-4b10-bb82-27245654a50a" providerId="ADAL" clId="{05A8CA33-8AB0-4B87-A00A-3A9C909B6976}" dt="2024-01-23T19:15:24.049" v="1441" actId="1076"/>
          <ac:picMkLst>
            <pc:docMk/>
            <pc:sldMk cId="2267554649" sldId="329"/>
            <ac:picMk id="26" creationId="{8B6AB3E0-9C39-066A-E257-8E6417B458E6}"/>
          </ac:picMkLst>
        </pc:picChg>
        <pc:picChg chg="add mod">
          <ac:chgData name="Michele Rocco" userId="b98ebe7a-7641-4b10-bb82-27245654a50a" providerId="ADAL" clId="{05A8CA33-8AB0-4B87-A00A-3A9C909B6976}" dt="2024-01-23T19:15:34.571" v="1444" actId="1076"/>
          <ac:picMkLst>
            <pc:docMk/>
            <pc:sldMk cId="2267554649" sldId="329"/>
            <ac:picMk id="29" creationId="{63C91E9A-A05A-5A9C-A44D-A86BFBE700BE}"/>
          </ac:picMkLst>
        </pc:picChg>
        <pc:inkChg chg="mod">
          <ac:chgData name="Michele Rocco" userId="b98ebe7a-7641-4b10-bb82-27245654a50a" providerId="ADAL" clId="{05A8CA33-8AB0-4B87-A00A-3A9C909B6976}" dt="2024-01-23T17:22:36.883" v="919"/>
          <ac:inkMkLst>
            <pc:docMk/>
            <pc:sldMk cId="2267554649" sldId="329"/>
            <ac:inkMk id="8" creationId="{E09B894D-996C-0C38-5FAB-9747B2A2EF0D}"/>
          </ac:inkMkLst>
        </pc:inkChg>
        <pc:inkChg chg="mod">
          <ac:chgData name="Michele Rocco" userId="b98ebe7a-7641-4b10-bb82-27245654a50a" providerId="ADAL" clId="{05A8CA33-8AB0-4B87-A00A-3A9C909B6976}" dt="2024-01-23T17:22:36.883" v="919"/>
          <ac:inkMkLst>
            <pc:docMk/>
            <pc:sldMk cId="2267554649" sldId="329"/>
            <ac:inkMk id="9" creationId="{38877068-94E4-C5A9-5BA7-8FA26600B782}"/>
          </ac:inkMkLst>
        </pc:inkChg>
        <pc:inkChg chg="mod">
          <ac:chgData name="Michele Rocco" userId="b98ebe7a-7641-4b10-bb82-27245654a50a" providerId="ADAL" clId="{05A8CA33-8AB0-4B87-A00A-3A9C909B6976}" dt="2024-01-23T17:22:36.883" v="919"/>
          <ac:inkMkLst>
            <pc:docMk/>
            <pc:sldMk cId="2267554649" sldId="329"/>
            <ac:inkMk id="10" creationId="{B220B93F-3498-C377-9EBE-E66D59CFD6DC}"/>
          </ac:inkMkLst>
        </pc:inkChg>
        <pc:inkChg chg="mod">
          <ac:chgData name="Michele Rocco" userId="b98ebe7a-7641-4b10-bb82-27245654a50a" providerId="ADAL" clId="{05A8CA33-8AB0-4B87-A00A-3A9C909B6976}" dt="2024-01-23T17:22:36.883" v="919"/>
          <ac:inkMkLst>
            <pc:docMk/>
            <pc:sldMk cId="2267554649" sldId="329"/>
            <ac:inkMk id="11" creationId="{56BED9DB-1892-2474-E6D4-4F8CE34319E0}"/>
          </ac:inkMkLst>
        </pc:inkChg>
        <pc:inkChg chg="mod">
          <ac:chgData name="Michele Rocco" userId="b98ebe7a-7641-4b10-bb82-27245654a50a" providerId="ADAL" clId="{05A8CA33-8AB0-4B87-A00A-3A9C909B6976}" dt="2024-01-23T17:22:36.883" v="919"/>
          <ac:inkMkLst>
            <pc:docMk/>
            <pc:sldMk cId="2267554649" sldId="329"/>
            <ac:inkMk id="12" creationId="{916A4480-48AF-0FEF-3F17-9ECBF78943CC}"/>
          </ac:inkMkLst>
        </pc:inkChg>
        <pc:inkChg chg="mod">
          <ac:chgData name="Michele Rocco" userId="b98ebe7a-7641-4b10-bb82-27245654a50a" providerId="ADAL" clId="{05A8CA33-8AB0-4B87-A00A-3A9C909B6976}" dt="2024-01-23T17:22:36.883" v="919"/>
          <ac:inkMkLst>
            <pc:docMk/>
            <pc:sldMk cId="2267554649" sldId="329"/>
            <ac:inkMk id="13" creationId="{14291057-CDEF-9F63-3802-4572E6F84C86}"/>
          </ac:inkMkLst>
        </pc:inkChg>
        <pc:inkChg chg="mod">
          <ac:chgData name="Michele Rocco" userId="b98ebe7a-7641-4b10-bb82-27245654a50a" providerId="ADAL" clId="{05A8CA33-8AB0-4B87-A00A-3A9C909B6976}" dt="2024-01-23T17:22:36.883" v="919"/>
          <ac:inkMkLst>
            <pc:docMk/>
            <pc:sldMk cId="2267554649" sldId="329"/>
            <ac:inkMk id="14" creationId="{4944FAC8-74B0-C6D0-DAAA-09174C43B663}"/>
          </ac:inkMkLst>
        </pc:inkChg>
        <pc:inkChg chg="mod">
          <ac:chgData name="Michele Rocco" userId="b98ebe7a-7641-4b10-bb82-27245654a50a" providerId="ADAL" clId="{05A8CA33-8AB0-4B87-A00A-3A9C909B6976}" dt="2024-01-23T17:22:36.883" v="919"/>
          <ac:inkMkLst>
            <pc:docMk/>
            <pc:sldMk cId="2267554649" sldId="329"/>
            <ac:inkMk id="15" creationId="{9BF05305-4662-84A1-B3E6-9571F351FB89}"/>
          </ac:inkMkLst>
        </pc:inkChg>
        <pc:inkChg chg="mod">
          <ac:chgData name="Michele Rocco" userId="b98ebe7a-7641-4b10-bb82-27245654a50a" providerId="ADAL" clId="{05A8CA33-8AB0-4B87-A00A-3A9C909B6976}" dt="2024-01-23T17:22:36.883" v="919"/>
          <ac:inkMkLst>
            <pc:docMk/>
            <pc:sldMk cId="2267554649" sldId="329"/>
            <ac:inkMk id="16" creationId="{6922071E-FDC4-120E-DFF2-CE7218A48B5E}"/>
          </ac:inkMkLst>
        </pc:inkChg>
        <pc:inkChg chg="mod">
          <ac:chgData name="Michele Rocco" userId="b98ebe7a-7641-4b10-bb82-27245654a50a" providerId="ADAL" clId="{05A8CA33-8AB0-4B87-A00A-3A9C909B6976}" dt="2024-01-23T17:22:36.883" v="919"/>
          <ac:inkMkLst>
            <pc:docMk/>
            <pc:sldMk cId="2267554649" sldId="329"/>
            <ac:inkMk id="17" creationId="{05531333-9651-749A-AB51-C1531F153208}"/>
          </ac:inkMkLst>
        </pc:inkChg>
        <pc:inkChg chg="mod">
          <ac:chgData name="Michele Rocco" userId="b98ebe7a-7641-4b10-bb82-27245654a50a" providerId="ADAL" clId="{05A8CA33-8AB0-4B87-A00A-3A9C909B6976}" dt="2024-01-23T17:22:36.883" v="919"/>
          <ac:inkMkLst>
            <pc:docMk/>
            <pc:sldMk cId="2267554649" sldId="329"/>
            <ac:inkMk id="18" creationId="{FE81BC2C-A795-5273-7914-7AF5C7B4417C}"/>
          </ac:inkMkLst>
        </pc:inkChg>
        <pc:inkChg chg="mod">
          <ac:chgData name="Michele Rocco" userId="b98ebe7a-7641-4b10-bb82-27245654a50a" providerId="ADAL" clId="{05A8CA33-8AB0-4B87-A00A-3A9C909B6976}" dt="2024-01-23T17:22:36.883" v="919"/>
          <ac:inkMkLst>
            <pc:docMk/>
            <pc:sldMk cId="2267554649" sldId="329"/>
            <ac:inkMk id="20" creationId="{7F9581A2-23E0-4A63-E31E-91A9F19FB78F}"/>
          </ac:inkMkLst>
        </pc:inkChg>
        <pc:inkChg chg="mod">
          <ac:chgData name="Michele Rocco" userId="b98ebe7a-7641-4b10-bb82-27245654a50a" providerId="ADAL" clId="{05A8CA33-8AB0-4B87-A00A-3A9C909B6976}" dt="2024-01-23T17:22:36.883" v="919"/>
          <ac:inkMkLst>
            <pc:docMk/>
            <pc:sldMk cId="2267554649" sldId="329"/>
            <ac:inkMk id="21" creationId="{85E7F1D4-0920-C642-59A7-9BA58AEAEC7D}"/>
          </ac:inkMkLst>
        </pc:inkChg>
        <pc:inkChg chg="mod">
          <ac:chgData name="Michele Rocco" userId="b98ebe7a-7641-4b10-bb82-27245654a50a" providerId="ADAL" clId="{05A8CA33-8AB0-4B87-A00A-3A9C909B6976}" dt="2024-01-23T17:22:36.883" v="919"/>
          <ac:inkMkLst>
            <pc:docMk/>
            <pc:sldMk cId="2267554649" sldId="329"/>
            <ac:inkMk id="22" creationId="{519F45D1-12EF-928F-5722-CF4733D38FF9}"/>
          </ac:inkMkLst>
        </pc:inkChg>
        <pc:inkChg chg="mod">
          <ac:chgData name="Michele Rocco" userId="b98ebe7a-7641-4b10-bb82-27245654a50a" providerId="ADAL" clId="{05A8CA33-8AB0-4B87-A00A-3A9C909B6976}" dt="2024-01-23T17:22:36.883" v="919"/>
          <ac:inkMkLst>
            <pc:docMk/>
            <pc:sldMk cId="2267554649" sldId="329"/>
            <ac:inkMk id="24" creationId="{B6B29A10-34F2-C4DA-EB39-81FB847F6C58}"/>
          </ac:inkMkLst>
        </pc:inkChg>
        <pc:inkChg chg="mod">
          <ac:chgData name="Michele Rocco" userId="b98ebe7a-7641-4b10-bb82-27245654a50a" providerId="ADAL" clId="{05A8CA33-8AB0-4B87-A00A-3A9C909B6976}" dt="2024-01-23T17:22:36.883" v="919"/>
          <ac:inkMkLst>
            <pc:docMk/>
            <pc:sldMk cId="2267554649" sldId="329"/>
            <ac:inkMk id="25" creationId="{32129BDE-2661-EBEB-406D-4ECC40AA4A2B}"/>
          </ac:inkMkLst>
        </pc:inkChg>
      </pc:sldChg>
      <pc:sldChg chg="addSp delSp modSp new mod modNotesTx">
        <pc:chgData name="Michele Rocco" userId="b98ebe7a-7641-4b10-bb82-27245654a50a" providerId="ADAL" clId="{05A8CA33-8AB0-4B87-A00A-3A9C909B6976}" dt="2024-01-24T09:00:25.630" v="10401" actId="20577"/>
        <pc:sldMkLst>
          <pc:docMk/>
          <pc:sldMk cId="1820970117" sldId="330"/>
        </pc:sldMkLst>
        <pc:spChg chg="mod">
          <ac:chgData name="Michele Rocco" userId="b98ebe7a-7641-4b10-bb82-27245654a50a" providerId="ADAL" clId="{05A8CA33-8AB0-4B87-A00A-3A9C909B6976}" dt="2024-01-24T09:00:25.630" v="10401" actId="20577"/>
          <ac:spMkLst>
            <pc:docMk/>
            <pc:sldMk cId="1820970117" sldId="330"/>
            <ac:spMk id="2" creationId="{1314C611-93D8-48B2-50E8-0B42B8DEEC67}"/>
          </ac:spMkLst>
        </pc:spChg>
        <pc:spChg chg="mod">
          <ac:chgData name="Michele Rocco" userId="b98ebe7a-7641-4b10-bb82-27245654a50a" providerId="ADAL" clId="{05A8CA33-8AB0-4B87-A00A-3A9C909B6976}" dt="2024-01-23T17:22:51.576" v="921"/>
          <ac:spMkLst>
            <pc:docMk/>
            <pc:sldMk cId="1820970117" sldId="330"/>
            <ac:spMk id="3" creationId="{CC3584A6-638E-24D3-AAA0-D50323811B03}"/>
          </ac:spMkLst>
        </pc:spChg>
        <pc:grpChg chg="add del mod">
          <ac:chgData name="Michele Rocco" userId="b98ebe7a-7641-4b10-bb82-27245654a50a" providerId="ADAL" clId="{05A8CA33-8AB0-4B87-A00A-3A9C909B6976}" dt="2024-01-24T07:26:38.388" v="1468" actId="478"/>
          <ac:grpSpMkLst>
            <pc:docMk/>
            <pc:sldMk cId="1820970117" sldId="330"/>
            <ac:grpSpMk id="7" creationId="{0214A84C-6F23-2B59-3E3E-633BD396DE7B}"/>
          </ac:grpSpMkLst>
        </pc:grpChg>
        <pc:grpChg chg="add del mod">
          <ac:chgData name="Michele Rocco" userId="b98ebe7a-7641-4b10-bb82-27245654a50a" providerId="ADAL" clId="{05A8CA33-8AB0-4B87-A00A-3A9C909B6976}" dt="2024-01-24T07:26:38.388" v="1468" actId="478"/>
          <ac:grpSpMkLst>
            <pc:docMk/>
            <pc:sldMk cId="1820970117" sldId="330"/>
            <ac:grpSpMk id="12" creationId="{0562198C-3D9C-0BB4-D968-C90F2DEFF3CB}"/>
          </ac:grpSpMkLst>
        </pc:grpChg>
        <pc:grpChg chg="add del mod">
          <ac:chgData name="Michele Rocco" userId="b98ebe7a-7641-4b10-bb82-27245654a50a" providerId="ADAL" clId="{05A8CA33-8AB0-4B87-A00A-3A9C909B6976}" dt="2024-01-24T07:26:38.388" v="1468" actId="478"/>
          <ac:grpSpMkLst>
            <pc:docMk/>
            <pc:sldMk cId="1820970117" sldId="330"/>
            <ac:grpSpMk id="43" creationId="{7FDC1CCB-0A71-FE83-FB9C-70D4786B13E5}"/>
          </ac:grpSpMkLst>
        </pc:grpChg>
        <pc:grpChg chg="add del mod">
          <ac:chgData name="Michele Rocco" userId="b98ebe7a-7641-4b10-bb82-27245654a50a" providerId="ADAL" clId="{05A8CA33-8AB0-4B87-A00A-3A9C909B6976}" dt="2024-01-24T07:26:38.388" v="1468" actId="478"/>
          <ac:grpSpMkLst>
            <pc:docMk/>
            <pc:sldMk cId="1820970117" sldId="330"/>
            <ac:grpSpMk id="58" creationId="{43A8658E-355B-018B-0F5D-D6786E314ECC}"/>
          </ac:grpSpMkLst>
        </pc:grpChg>
        <pc:picChg chg="add mod">
          <ac:chgData name="Michele Rocco" userId="b98ebe7a-7641-4b10-bb82-27245654a50a" providerId="ADAL" clId="{05A8CA33-8AB0-4B87-A00A-3A9C909B6976}" dt="2024-01-24T08:47:41.309" v="9799" actId="1076"/>
          <ac:picMkLst>
            <pc:docMk/>
            <pc:sldMk cId="1820970117" sldId="330"/>
            <ac:picMk id="85" creationId="{DEDFA6ED-1DEB-E888-D167-4ECF791C349D}"/>
          </ac:picMkLst>
        </pc:picChg>
        <pc:picChg chg="add mod">
          <ac:chgData name="Michele Rocco" userId="b98ebe7a-7641-4b10-bb82-27245654a50a" providerId="ADAL" clId="{05A8CA33-8AB0-4B87-A00A-3A9C909B6976}" dt="2024-01-24T07:32:46.837" v="1498" actId="1076"/>
          <ac:picMkLst>
            <pc:docMk/>
            <pc:sldMk cId="1820970117" sldId="330"/>
            <ac:picMk id="87" creationId="{0996DBAA-C6DA-FD70-4362-449903246DF7}"/>
          </ac:picMkLst>
        </pc:picChg>
        <pc:inkChg chg="add del mod">
          <ac:chgData name="Michele Rocco" userId="b98ebe7a-7641-4b10-bb82-27245654a50a" providerId="ADAL" clId="{05A8CA33-8AB0-4B87-A00A-3A9C909B6976}" dt="2024-01-24T07:26:38.388" v="1468" actId="478"/>
          <ac:inkMkLst>
            <pc:docMk/>
            <pc:sldMk cId="1820970117" sldId="330"/>
            <ac:inkMk id="6" creationId="{7456959F-E380-4C4E-4B8C-ED76A5DFFE2F}"/>
          </ac:inkMkLst>
        </pc:inkChg>
        <pc:inkChg chg="mod">
          <ac:chgData name="Michele Rocco" userId="b98ebe7a-7641-4b10-bb82-27245654a50a" providerId="ADAL" clId="{05A8CA33-8AB0-4B87-A00A-3A9C909B6976}" dt="2024-01-23T19:16:26.587" v="1446"/>
          <ac:inkMkLst>
            <pc:docMk/>
            <pc:sldMk cId="1820970117" sldId="330"/>
            <ac:inkMk id="8" creationId="{8263856C-993A-9F43-D910-1C572DC352D9}"/>
          </ac:inkMkLst>
        </pc:inkChg>
        <pc:inkChg chg="mod">
          <ac:chgData name="Michele Rocco" userId="b98ebe7a-7641-4b10-bb82-27245654a50a" providerId="ADAL" clId="{05A8CA33-8AB0-4B87-A00A-3A9C909B6976}" dt="2024-01-23T19:16:26.587" v="1446"/>
          <ac:inkMkLst>
            <pc:docMk/>
            <pc:sldMk cId="1820970117" sldId="330"/>
            <ac:inkMk id="9" creationId="{72874EAA-D65B-C591-1A1E-405D19159097}"/>
          </ac:inkMkLst>
        </pc:inkChg>
        <pc:inkChg chg="mod">
          <ac:chgData name="Michele Rocco" userId="b98ebe7a-7641-4b10-bb82-27245654a50a" providerId="ADAL" clId="{05A8CA33-8AB0-4B87-A00A-3A9C909B6976}" dt="2024-01-23T19:16:26.587" v="1446"/>
          <ac:inkMkLst>
            <pc:docMk/>
            <pc:sldMk cId="1820970117" sldId="330"/>
            <ac:inkMk id="10" creationId="{30620A0D-9B28-4311-44C5-202FBD0287DC}"/>
          </ac:inkMkLst>
        </pc:inkChg>
        <pc:inkChg chg="mod">
          <ac:chgData name="Michele Rocco" userId="b98ebe7a-7641-4b10-bb82-27245654a50a" providerId="ADAL" clId="{05A8CA33-8AB0-4B87-A00A-3A9C909B6976}" dt="2024-01-23T19:16:26.587" v="1446"/>
          <ac:inkMkLst>
            <pc:docMk/>
            <pc:sldMk cId="1820970117" sldId="330"/>
            <ac:inkMk id="11" creationId="{5AB9948F-9746-648B-BAA9-5BC467AF9C1F}"/>
          </ac:inkMkLst>
        </pc:inkChg>
        <pc:inkChg chg="mod">
          <ac:chgData name="Michele Rocco" userId="b98ebe7a-7641-4b10-bb82-27245654a50a" providerId="ADAL" clId="{05A8CA33-8AB0-4B87-A00A-3A9C909B6976}" dt="2024-01-23T19:16:26.587" v="1446"/>
          <ac:inkMkLst>
            <pc:docMk/>
            <pc:sldMk cId="1820970117" sldId="330"/>
            <ac:inkMk id="13" creationId="{6C21103F-669D-8E50-1D23-46AA67C83AAC}"/>
          </ac:inkMkLst>
        </pc:inkChg>
        <pc:inkChg chg="mod">
          <ac:chgData name="Michele Rocco" userId="b98ebe7a-7641-4b10-bb82-27245654a50a" providerId="ADAL" clId="{05A8CA33-8AB0-4B87-A00A-3A9C909B6976}" dt="2024-01-23T19:16:26.587" v="1446"/>
          <ac:inkMkLst>
            <pc:docMk/>
            <pc:sldMk cId="1820970117" sldId="330"/>
            <ac:inkMk id="14" creationId="{D4C22653-DFAB-1828-111D-68B2F8D44F5A}"/>
          </ac:inkMkLst>
        </pc:inkChg>
        <pc:inkChg chg="mod">
          <ac:chgData name="Michele Rocco" userId="b98ebe7a-7641-4b10-bb82-27245654a50a" providerId="ADAL" clId="{05A8CA33-8AB0-4B87-A00A-3A9C909B6976}" dt="2024-01-23T19:16:26.587" v="1446"/>
          <ac:inkMkLst>
            <pc:docMk/>
            <pc:sldMk cId="1820970117" sldId="330"/>
            <ac:inkMk id="15" creationId="{C7C6AFA3-343D-5D30-54FD-968835FCF82F}"/>
          </ac:inkMkLst>
        </pc:inkChg>
        <pc:inkChg chg="mod">
          <ac:chgData name="Michele Rocco" userId="b98ebe7a-7641-4b10-bb82-27245654a50a" providerId="ADAL" clId="{05A8CA33-8AB0-4B87-A00A-3A9C909B6976}" dt="2024-01-23T19:16:26.587" v="1446"/>
          <ac:inkMkLst>
            <pc:docMk/>
            <pc:sldMk cId="1820970117" sldId="330"/>
            <ac:inkMk id="16" creationId="{B7036DBC-A659-9FA0-B7B5-DD398889F0E2}"/>
          </ac:inkMkLst>
        </pc:inkChg>
        <pc:inkChg chg="mod">
          <ac:chgData name="Michele Rocco" userId="b98ebe7a-7641-4b10-bb82-27245654a50a" providerId="ADAL" clId="{05A8CA33-8AB0-4B87-A00A-3A9C909B6976}" dt="2024-01-23T19:16:26.587" v="1446"/>
          <ac:inkMkLst>
            <pc:docMk/>
            <pc:sldMk cId="1820970117" sldId="330"/>
            <ac:inkMk id="17" creationId="{873BC427-5532-8D8B-B711-B0CF0E0C7E28}"/>
          </ac:inkMkLst>
        </pc:inkChg>
        <pc:inkChg chg="mod">
          <ac:chgData name="Michele Rocco" userId="b98ebe7a-7641-4b10-bb82-27245654a50a" providerId="ADAL" clId="{05A8CA33-8AB0-4B87-A00A-3A9C909B6976}" dt="2024-01-23T19:16:26.587" v="1446"/>
          <ac:inkMkLst>
            <pc:docMk/>
            <pc:sldMk cId="1820970117" sldId="330"/>
            <ac:inkMk id="18" creationId="{A5BA32F9-A812-600A-F086-F89EFEE1804D}"/>
          </ac:inkMkLst>
        </pc:inkChg>
        <pc:inkChg chg="mod">
          <ac:chgData name="Michele Rocco" userId="b98ebe7a-7641-4b10-bb82-27245654a50a" providerId="ADAL" clId="{05A8CA33-8AB0-4B87-A00A-3A9C909B6976}" dt="2024-01-23T19:16:26.587" v="1446"/>
          <ac:inkMkLst>
            <pc:docMk/>
            <pc:sldMk cId="1820970117" sldId="330"/>
            <ac:inkMk id="19" creationId="{B994F8CE-555F-9724-C1E9-162C5A3F9CC2}"/>
          </ac:inkMkLst>
        </pc:inkChg>
        <pc:inkChg chg="mod">
          <ac:chgData name="Michele Rocco" userId="b98ebe7a-7641-4b10-bb82-27245654a50a" providerId="ADAL" clId="{05A8CA33-8AB0-4B87-A00A-3A9C909B6976}" dt="2024-01-23T19:16:26.587" v="1446"/>
          <ac:inkMkLst>
            <pc:docMk/>
            <pc:sldMk cId="1820970117" sldId="330"/>
            <ac:inkMk id="20" creationId="{76AD46EC-12CF-FD3A-3BD0-E693CCE249F4}"/>
          </ac:inkMkLst>
        </pc:inkChg>
        <pc:inkChg chg="mod">
          <ac:chgData name="Michele Rocco" userId="b98ebe7a-7641-4b10-bb82-27245654a50a" providerId="ADAL" clId="{05A8CA33-8AB0-4B87-A00A-3A9C909B6976}" dt="2024-01-23T19:16:26.587" v="1446"/>
          <ac:inkMkLst>
            <pc:docMk/>
            <pc:sldMk cId="1820970117" sldId="330"/>
            <ac:inkMk id="21" creationId="{897B8724-C63B-F394-32DD-8A0BF94789A1}"/>
          </ac:inkMkLst>
        </pc:inkChg>
        <pc:inkChg chg="mod">
          <ac:chgData name="Michele Rocco" userId="b98ebe7a-7641-4b10-bb82-27245654a50a" providerId="ADAL" clId="{05A8CA33-8AB0-4B87-A00A-3A9C909B6976}" dt="2024-01-23T19:16:26.587" v="1446"/>
          <ac:inkMkLst>
            <pc:docMk/>
            <pc:sldMk cId="1820970117" sldId="330"/>
            <ac:inkMk id="22" creationId="{D37DD2D3-8F48-31E9-B217-BC81D4E09F45}"/>
          </ac:inkMkLst>
        </pc:inkChg>
        <pc:inkChg chg="add del mod">
          <ac:chgData name="Michele Rocco" userId="b98ebe7a-7641-4b10-bb82-27245654a50a" providerId="ADAL" clId="{05A8CA33-8AB0-4B87-A00A-3A9C909B6976}" dt="2024-01-24T07:26:38.388" v="1468" actId="478"/>
          <ac:inkMkLst>
            <pc:docMk/>
            <pc:sldMk cId="1820970117" sldId="330"/>
            <ac:inkMk id="23" creationId="{48053958-4A0E-DA02-B953-4DA204803E04}"/>
          </ac:inkMkLst>
        </pc:inkChg>
        <pc:inkChg chg="add del mod">
          <ac:chgData name="Michele Rocco" userId="b98ebe7a-7641-4b10-bb82-27245654a50a" providerId="ADAL" clId="{05A8CA33-8AB0-4B87-A00A-3A9C909B6976}" dt="2024-01-24T07:26:38.388" v="1468" actId="478"/>
          <ac:inkMkLst>
            <pc:docMk/>
            <pc:sldMk cId="1820970117" sldId="330"/>
            <ac:inkMk id="24" creationId="{5F398E0F-3C04-232A-ACE0-BDEB8D5A5B8A}"/>
          </ac:inkMkLst>
        </pc:inkChg>
        <pc:inkChg chg="add del mod">
          <ac:chgData name="Michele Rocco" userId="b98ebe7a-7641-4b10-bb82-27245654a50a" providerId="ADAL" clId="{05A8CA33-8AB0-4B87-A00A-3A9C909B6976}" dt="2024-01-24T07:26:38.388" v="1468" actId="478"/>
          <ac:inkMkLst>
            <pc:docMk/>
            <pc:sldMk cId="1820970117" sldId="330"/>
            <ac:inkMk id="25" creationId="{BFC1A007-734C-D7A0-0D8C-8A4A07DD1248}"/>
          </ac:inkMkLst>
        </pc:inkChg>
        <pc:inkChg chg="add del mod">
          <ac:chgData name="Michele Rocco" userId="b98ebe7a-7641-4b10-bb82-27245654a50a" providerId="ADAL" clId="{05A8CA33-8AB0-4B87-A00A-3A9C909B6976}" dt="2024-01-24T07:26:38.388" v="1468" actId="478"/>
          <ac:inkMkLst>
            <pc:docMk/>
            <pc:sldMk cId="1820970117" sldId="330"/>
            <ac:inkMk id="26" creationId="{4CBC96C7-FC3D-461E-D313-4559810CD02C}"/>
          </ac:inkMkLst>
        </pc:inkChg>
        <pc:inkChg chg="add del mod">
          <ac:chgData name="Michele Rocco" userId="b98ebe7a-7641-4b10-bb82-27245654a50a" providerId="ADAL" clId="{05A8CA33-8AB0-4B87-A00A-3A9C909B6976}" dt="2024-01-24T07:26:38.388" v="1468" actId="478"/>
          <ac:inkMkLst>
            <pc:docMk/>
            <pc:sldMk cId="1820970117" sldId="330"/>
            <ac:inkMk id="27" creationId="{0C4B8BFB-CB56-68DC-3829-CC3E871FA243}"/>
          </ac:inkMkLst>
        </pc:inkChg>
        <pc:inkChg chg="add del mod">
          <ac:chgData name="Michele Rocco" userId="b98ebe7a-7641-4b10-bb82-27245654a50a" providerId="ADAL" clId="{05A8CA33-8AB0-4B87-A00A-3A9C909B6976}" dt="2024-01-24T07:26:38.388" v="1468" actId="478"/>
          <ac:inkMkLst>
            <pc:docMk/>
            <pc:sldMk cId="1820970117" sldId="330"/>
            <ac:inkMk id="28" creationId="{27B09DE6-42A9-15E2-6F51-D84D662A0E32}"/>
          </ac:inkMkLst>
        </pc:inkChg>
        <pc:inkChg chg="add del mod">
          <ac:chgData name="Michele Rocco" userId="b98ebe7a-7641-4b10-bb82-27245654a50a" providerId="ADAL" clId="{05A8CA33-8AB0-4B87-A00A-3A9C909B6976}" dt="2024-01-24T07:26:38.388" v="1468" actId="478"/>
          <ac:inkMkLst>
            <pc:docMk/>
            <pc:sldMk cId="1820970117" sldId="330"/>
            <ac:inkMk id="29" creationId="{BBAD480F-4370-18C3-A991-34749A9C90A5}"/>
          </ac:inkMkLst>
        </pc:inkChg>
        <pc:inkChg chg="add del mod">
          <ac:chgData name="Michele Rocco" userId="b98ebe7a-7641-4b10-bb82-27245654a50a" providerId="ADAL" clId="{05A8CA33-8AB0-4B87-A00A-3A9C909B6976}" dt="2024-01-24T07:26:38.388" v="1468" actId="478"/>
          <ac:inkMkLst>
            <pc:docMk/>
            <pc:sldMk cId="1820970117" sldId="330"/>
            <ac:inkMk id="30" creationId="{544B50AD-78BA-C5E7-6786-F830B9CDF693}"/>
          </ac:inkMkLst>
        </pc:inkChg>
        <pc:inkChg chg="add del mod">
          <ac:chgData name="Michele Rocco" userId="b98ebe7a-7641-4b10-bb82-27245654a50a" providerId="ADAL" clId="{05A8CA33-8AB0-4B87-A00A-3A9C909B6976}" dt="2024-01-24T07:26:38.388" v="1468" actId="478"/>
          <ac:inkMkLst>
            <pc:docMk/>
            <pc:sldMk cId="1820970117" sldId="330"/>
            <ac:inkMk id="31" creationId="{0F35A475-BCC0-1C82-0F21-5A88FCBD215E}"/>
          </ac:inkMkLst>
        </pc:inkChg>
        <pc:inkChg chg="add del mod">
          <ac:chgData name="Michele Rocco" userId="b98ebe7a-7641-4b10-bb82-27245654a50a" providerId="ADAL" clId="{05A8CA33-8AB0-4B87-A00A-3A9C909B6976}" dt="2024-01-24T07:26:38.388" v="1468" actId="478"/>
          <ac:inkMkLst>
            <pc:docMk/>
            <pc:sldMk cId="1820970117" sldId="330"/>
            <ac:inkMk id="32" creationId="{2953D196-C6A2-70F5-CC64-9C3C27525279}"/>
          </ac:inkMkLst>
        </pc:inkChg>
        <pc:inkChg chg="add del mod">
          <ac:chgData name="Michele Rocco" userId="b98ebe7a-7641-4b10-bb82-27245654a50a" providerId="ADAL" clId="{05A8CA33-8AB0-4B87-A00A-3A9C909B6976}" dt="2024-01-24T07:26:38.388" v="1468" actId="478"/>
          <ac:inkMkLst>
            <pc:docMk/>
            <pc:sldMk cId="1820970117" sldId="330"/>
            <ac:inkMk id="33" creationId="{7844B3C6-FB5F-ADB7-B353-39460B79CB8C}"/>
          </ac:inkMkLst>
        </pc:inkChg>
        <pc:inkChg chg="add del mod">
          <ac:chgData name="Michele Rocco" userId="b98ebe7a-7641-4b10-bb82-27245654a50a" providerId="ADAL" clId="{05A8CA33-8AB0-4B87-A00A-3A9C909B6976}" dt="2024-01-24T07:26:38.388" v="1468" actId="478"/>
          <ac:inkMkLst>
            <pc:docMk/>
            <pc:sldMk cId="1820970117" sldId="330"/>
            <ac:inkMk id="34" creationId="{98A9010B-1ACA-BA66-89FD-CD91A57C67FB}"/>
          </ac:inkMkLst>
        </pc:inkChg>
        <pc:inkChg chg="add del mod">
          <ac:chgData name="Michele Rocco" userId="b98ebe7a-7641-4b10-bb82-27245654a50a" providerId="ADAL" clId="{05A8CA33-8AB0-4B87-A00A-3A9C909B6976}" dt="2024-01-24T07:26:38.388" v="1468" actId="478"/>
          <ac:inkMkLst>
            <pc:docMk/>
            <pc:sldMk cId="1820970117" sldId="330"/>
            <ac:inkMk id="35" creationId="{78FE3209-6477-609A-E7F8-DA5E25C9133C}"/>
          </ac:inkMkLst>
        </pc:inkChg>
        <pc:inkChg chg="add del mod">
          <ac:chgData name="Michele Rocco" userId="b98ebe7a-7641-4b10-bb82-27245654a50a" providerId="ADAL" clId="{05A8CA33-8AB0-4B87-A00A-3A9C909B6976}" dt="2024-01-24T07:26:38.388" v="1468" actId="478"/>
          <ac:inkMkLst>
            <pc:docMk/>
            <pc:sldMk cId="1820970117" sldId="330"/>
            <ac:inkMk id="36" creationId="{D7A317EF-5CCA-BBB1-21B1-890DC0B6DA23}"/>
          </ac:inkMkLst>
        </pc:inkChg>
        <pc:inkChg chg="add del mod">
          <ac:chgData name="Michele Rocco" userId="b98ebe7a-7641-4b10-bb82-27245654a50a" providerId="ADAL" clId="{05A8CA33-8AB0-4B87-A00A-3A9C909B6976}" dt="2024-01-24T07:26:38.388" v="1468" actId="478"/>
          <ac:inkMkLst>
            <pc:docMk/>
            <pc:sldMk cId="1820970117" sldId="330"/>
            <ac:inkMk id="37" creationId="{165BD9E4-A613-A88A-935D-1287CA94A4F0}"/>
          </ac:inkMkLst>
        </pc:inkChg>
        <pc:inkChg chg="add del mod">
          <ac:chgData name="Michele Rocco" userId="b98ebe7a-7641-4b10-bb82-27245654a50a" providerId="ADAL" clId="{05A8CA33-8AB0-4B87-A00A-3A9C909B6976}" dt="2024-01-24T07:26:38.388" v="1468" actId="478"/>
          <ac:inkMkLst>
            <pc:docMk/>
            <pc:sldMk cId="1820970117" sldId="330"/>
            <ac:inkMk id="38" creationId="{DF023F9D-3C38-9BDB-2BD5-6AE839F95046}"/>
          </ac:inkMkLst>
        </pc:inkChg>
        <pc:inkChg chg="add del mod">
          <ac:chgData name="Michele Rocco" userId="b98ebe7a-7641-4b10-bb82-27245654a50a" providerId="ADAL" clId="{05A8CA33-8AB0-4B87-A00A-3A9C909B6976}" dt="2024-01-24T07:26:38.388" v="1468" actId="478"/>
          <ac:inkMkLst>
            <pc:docMk/>
            <pc:sldMk cId="1820970117" sldId="330"/>
            <ac:inkMk id="39" creationId="{C154AF3D-81A5-9B0C-BB8A-C328FDC85A05}"/>
          </ac:inkMkLst>
        </pc:inkChg>
        <pc:inkChg chg="add del mod">
          <ac:chgData name="Michele Rocco" userId="b98ebe7a-7641-4b10-bb82-27245654a50a" providerId="ADAL" clId="{05A8CA33-8AB0-4B87-A00A-3A9C909B6976}" dt="2024-01-24T07:26:38.388" v="1468" actId="478"/>
          <ac:inkMkLst>
            <pc:docMk/>
            <pc:sldMk cId="1820970117" sldId="330"/>
            <ac:inkMk id="40" creationId="{5D6CEF6B-B305-B9E2-1A58-D578C0023E71}"/>
          </ac:inkMkLst>
        </pc:inkChg>
        <pc:inkChg chg="add del mod">
          <ac:chgData name="Michele Rocco" userId="b98ebe7a-7641-4b10-bb82-27245654a50a" providerId="ADAL" clId="{05A8CA33-8AB0-4B87-A00A-3A9C909B6976}" dt="2024-01-24T07:26:38.388" v="1468" actId="478"/>
          <ac:inkMkLst>
            <pc:docMk/>
            <pc:sldMk cId="1820970117" sldId="330"/>
            <ac:inkMk id="41" creationId="{81402854-5708-F948-259F-3848AEC174C1}"/>
          </ac:inkMkLst>
        </pc:inkChg>
        <pc:inkChg chg="add del mod">
          <ac:chgData name="Michele Rocco" userId="b98ebe7a-7641-4b10-bb82-27245654a50a" providerId="ADAL" clId="{05A8CA33-8AB0-4B87-A00A-3A9C909B6976}" dt="2024-01-24T07:26:38.388" v="1468" actId="478"/>
          <ac:inkMkLst>
            <pc:docMk/>
            <pc:sldMk cId="1820970117" sldId="330"/>
            <ac:inkMk id="42" creationId="{C7B2F0CA-E637-6F52-CE38-AE406F8DC19F}"/>
          </ac:inkMkLst>
        </pc:inkChg>
        <pc:inkChg chg="mod">
          <ac:chgData name="Michele Rocco" userId="b98ebe7a-7641-4b10-bb82-27245654a50a" providerId="ADAL" clId="{05A8CA33-8AB0-4B87-A00A-3A9C909B6976}" dt="2024-01-23T19:16:26.587" v="1446"/>
          <ac:inkMkLst>
            <pc:docMk/>
            <pc:sldMk cId="1820970117" sldId="330"/>
            <ac:inkMk id="44" creationId="{406D5376-0B4A-E2B2-0002-55F660073B10}"/>
          </ac:inkMkLst>
        </pc:inkChg>
        <pc:inkChg chg="mod">
          <ac:chgData name="Michele Rocco" userId="b98ebe7a-7641-4b10-bb82-27245654a50a" providerId="ADAL" clId="{05A8CA33-8AB0-4B87-A00A-3A9C909B6976}" dt="2024-01-23T19:16:26.587" v="1446"/>
          <ac:inkMkLst>
            <pc:docMk/>
            <pc:sldMk cId="1820970117" sldId="330"/>
            <ac:inkMk id="45" creationId="{4BCA0FE0-4133-DAB6-8172-4AC22C4200BF}"/>
          </ac:inkMkLst>
        </pc:inkChg>
        <pc:inkChg chg="mod">
          <ac:chgData name="Michele Rocco" userId="b98ebe7a-7641-4b10-bb82-27245654a50a" providerId="ADAL" clId="{05A8CA33-8AB0-4B87-A00A-3A9C909B6976}" dt="2024-01-23T19:16:26.587" v="1446"/>
          <ac:inkMkLst>
            <pc:docMk/>
            <pc:sldMk cId="1820970117" sldId="330"/>
            <ac:inkMk id="46" creationId="{4AA8DBF9-13A0-1E9B-0319-14E49054F0D5}"/>
          </ac:inkMkLst>
        </pc:inkChg>
        <pc:inkChg chg="mod">
          <ac:chgData name="Michele Rocco" userId="b98ebe7a-7641-4b10-bb82-27245654a50a" providerId="ADAL" clId="{05A8CA33-8AB0-4B87-A00A-3A9C909B6976}" dt="2024-01-23T19:16:26.587" v="1446"/>
          <ac:inkMkLst>
            <pc:docMk/>
            <pc:sldMk cId="1820970117" sldId="330"/>
            <ac:inkMk id="47" creationId="{5FADA365-80E3-FB59-09CA-D6762A51D625}"/>
          </ac:inkMkLst>
        </pc:inkChg>
        <pc:inkChg chg="mod">
          <ac:chgData name="Michele Rocco" userId="b98ebe7a-7641-4b10-bb82-27245654a50a" providerId="ADAL" clId="{05A8CA33-8AB0-4B87-A00A-3A9C909B6976}" dt="2024-01-23T19:16:26.587" v="1446"/>
          <ac:inkMkLst>
            <pc:docMk/>
            <pc:sldMk cId="1820970117" sldId="330"/>
            <ac:inkMk id="48" creationId="{37EB8811-D1CD-DA52-FDF4-4B647D7ED933}"/>
          </ac:inkMkLst>
        </pc:inkChg>
        <pc:inkChg chg="mod">
          <ac:chgData name="Michele Rocco" userId="b98ebe7a-7641-4b10-bb82-27245654a50a" providerId="ADAL" clId="{05A8CA33-8AB0-4B87-A00A-3A9C909B6976}" dt="2024-01-23T19:16:26.587" v="1446"/>
          <ac:inkMkLst>
            <pc:docMk/>
            <pc:sldMk cId="1820970117" sldId="330"/>
            <ac:inkMk id="49" creationId="{F063B735-D5C5-EC29-BDCA-DB415C917E59}"/>
          </ac:inkMkLst>
        </pc:inkChg>
        <pc:inkChg chg="mod">
          <ac:chgData name="Michele Rocco" userId="b98ebe7a-7641-4b10-bb82-27245654a50a" providerId="ADAL" clId="{05A8CA33-8AB0-4B87-A00A-3A9C909B6976}" dt="2024-01-23T19:16:26.587" v="1446"/>
          <ac:inkMkLst>
            <pc:docMk/>
            <pc:sldMk cId="1820970117" sldId="330"/>
            <ac:inkMk id="50" creationId="{982ABBA0-8C42-AD0C-FF0B-4538DAE4491B}"/>
          </ac:inkMkLst>
        </pc:inkChg>
        <pc:inkChg chg="mod">
          <ac:chgData name="Michele Rocco" userId="b98ebe7a-7641-4b10-bb82-27245654a50a" providerId="ADAL" clId="{05A8CA33-8AB0-4B87-A00A-3A9C909B6976}" dt="2024-01-23T19:16:26.587" v="1446"/>
          <ac:inkMkLst>
            <pc:docMk/>
            <pc:sldMk cId="1820970117" sldId="330"/>
            <ac:inkMk id="51" creationId="{03B10262-B955-0D16-1491-AD00B7EF4B5B}"/>
          </ac:inkMkLst>
        </pc:inkChg>
        <pc:inkChg chg="mod">
          <ac:chgData name="Michele Rocco" userId="b98ebe7a-7641-4b10-bb82-27245654a50a" providerId="ADAL" clId="{05A8CA33-8AB0-4B87-A00A-3A9C909B6976}" dt="2024-01-23T19:16:26.587" v="1446"/>
          <ac:inkMkLst>
            <pc:docMk/>
            <pc:sldMk cId="1820970117" sldId="330"/>
            <ac:inkMk id="52" creationId="{8F04764F-E5E9-9CE0-7772-2C6595379462}"/>
          </ac:inkMkLst>
        </pc:inkChg>
        <pc:inkChg chg="mod">
          <ac:chgData name="Michele Rocco" userId="b98ebe7a-7641-4b10-bb82-27245654a50a" providerId="ADAL" clId="{05A8CA33-8AB0-4B87-A00A-3A9C909B6976}" dt="2024-01-23T19:16:26.587" v="1446"/>
          <ac:inkMkLst>
            <pc:docMk/>
            <pc:sldMk cId="1820970117" sldId="330"/>
            <ac:inkMk id="53" creationId="{208028F6-4E51-C7F0-C6C3-C08929EDA8F4}"/>
          </ac:inkMkLst>
        </pc:inkChg>
        <pc:inkChg chg="mod">
          <ac:chgData name="Michele Rocco" userId="b98ebe7a-7641-4b10-bb82-27245654a50a" providerId="ADAL" clId="{05A8CA33-8AB0-4B87-A00A-3A9C909B6976}" dt="2024-01-23T19:16:26.587" v="1446"/>
          <ac:inkMkLst>
            <pc:docMk/>
            <pc:sldMk cId="1820970117" sldId="330"/>
            <ac:inkMk id="54" creationId="{B10E3023-EF85-7F6F-5A60-9AFB49AD7CA6}"/>
          </ac:inkMkLst>
        </pc:inkChg>
        <pc:inkChg chg="mod">
          <ac:chgData name="Michele Rocco" userId="b98ebe7a-7641-4b10-bb82-27245654a50a" providerId="ADAL" clId="{05A8CA33-8AB0-4B87-A00A-3A9C909B6976}" dt="2024-01-23T19:16:26.587" v="1446"/>
          <ac:inkMkLst>
            <pc:docMk/>
            <pc:sldMk cId="1820970117" sldId="330"/>
            <ac:inkMk id="55" creationId="{41691AED-56E7-3C6A-0331-A3639999F23C}"/>
          </ac:inkMkLst>
        </pc:inkChg>
        <pc:inkChg chg="add del mod">
          <ac:chgData name="Michele Rocco" userId="b98ebe7a-7641-4b10-bb82-27245654a50a" providerId="ADAL" clId="{05A8CA33-8AB0-4B87-A00A-3A9C909B6976}" dt="2024-01-24T07:26:38.388" v="1468" actId="478"/>
          <ac:inkMkLst>
            <pc:docMk/>
            <pc:sldMk cId="1820970117" sldId="330"/>
            <ac:inkMk id="56" creationId="{7C0D0D58-9FB1-7A97-5A91-7D140866A224}"/>
          </ac:inkMkLst>
        </pc:inkChg>
        <pc:inkChg chg="add del mod">
          <ac:chgData name="Michele Rocco" userId="b98ebe7a-7641-4b10-bb82-27245654a50a" providerId="ADAL" clId="{05A8CA33-8AB0-4B87-A00A-3A9C909B6976}" dt="2024-01-24T07:26:38.388" v="1468" actId="478"/>
          <ac:inkMkLst>
            <pc:docMk/>
            <pc:sldMk cId="1820970117" sldId="330"/>
            <ac:inkMk id="57" creationId="{CD6883B0-1466-208D-F4B5-8A67655FA452}"/>
          </ac:inkMkLst>
        </pc:inkChg>
        <pc:inkChg chg="mod">
          <ac:chgData name="Michele Rocco" userId="b98ebe7a-7641-4b10-bb82-27245654a50a" providerId="ADAL" clId="{05A8CA33-8AB0-4B87-A00A-3A9C909B6976}" dt="2024-01-23T19:16:26.587" v="1446"/>
          <ac:inkMkLst>
            <pc:docMk/>
            <pc:sldMk cId="1820970117" sldId="330"/>
            <ac:inkMk id="59" creationId="{E98656CD-B4A1-BD7E-BB4D-BC49361A3E8E}"/>
          </ac:inkMkLst>
        </pc:inkChg>
        <pc:inkChg chg="mod">
          <ac:chgData name="Michele Rocco" userId="b98ebe7a-7641-4b10-bb82-27245654a50a" providerId="ADAL" clId="{05A8CA33-8AB0-4B87-A00A-3A9C909B6976}" dt="2024-01-23T19:16:26.587" v="1446"/>
          <ac:inkMkLst>
            <pc:docMk/>
            <pc:sldMk cId="1820970117" sldId="330"/>
            <ac:inkMk id="60" creationId="{F429CF93-D6F9-438B-C79E-CB6326E6C9EC}"/>
          </ac:inkMkLst>
        </pc:inkChg>
        <pc:inkChg chg="mod">
          <ac:chgData name="Michele Rocco" userId="b98ebe7a-7641-4b10-bb82-27245654a50a" providerId="ADAL" clId="{05A8CA33-8AB0-4B87-A00A-3A9C909B6976}" dt="2024-01-23T19:16:26.587" v="1446"/>
          <ac:inkMkLst>
            <pc:docMk/>
            <pc:sldMk cId="1820970117" sldId="330"/>
            <ac:inkMk id="61" creationId="{A8957F6D-6C06-BBE0-8AA5-E6FB424658C8}"/>
          </ac:inkMkLst>
        </pc:inkChg>
        <pc:inkChg chg="mod">
          <ac:chgData name="Michele Rocco" userId="b98ebe7a-7641-4b10-bb82-27245654a50a" providerId="ADAL" clId="{05A8CA33-8AB0-4B87-A00A-3A9C909B6976}" dt="2024-01-23T19:16:26.587" v="1446"/>
          <ac:inkMkLst>
            <pc:docMk/>
            <pc:sldMk cId="1820970117" sldId="330"/>
            <ac:inkMk id="62" creationId="{E75C4710-5148-1207-D72E-DE0777D2EF48}"/>
          </ac:inkMkLst>
        </pc:inkChg>
        <pc:inkChg chg="mod">
          <ac:chgData name="Michele Rocco" userId="b98ebe7a-7641-4b10-bb82-27245654a50a" providerId="ADAL" clId="{05A8CA33-8AB0-4B87-A00A-3A9C909B6976}" dt="2024-01-23T19:16:26.587" v="1446"/>
          <ac:inkMkLst>
            <pc:docMk/>
            <pc:sldMk cId="1820970117" sldId="330"/>
            <ac:inkMk id="63" creationId="{51A8E93C-1698-30BE-2BB4-43D456763AC2}"/>
          </ac:inkMkLst>
        </pc:inkChg>
        <pc:inkChg chg="mod">
          <ac:chgData name="Michele Rocco" userId="b98ebe7a-7641-4b10-bb82-27245654a50a" providerId="ADAL" clId="{05A8CA33-8AB0-4B87-A00A-3A9C909B6976}" dt="2024-01-23T19:16:26.587" v="1446"/>
          <ac:inkMkLst>
            <pc:docMk/>
            <pc:sldMk cId="1820970117" sldId="330"/>
            <ac:inkMk id="64" creationId="{DD81867B-AF63-BBAA-8B5B-DB726505F661}"/>
          </ac:inkMkLst>
        </pc:inkChg>
        <pc:inkChg chg="mod">
          <ac:chgData name="Michele Rocco" userId="b98ebe7a-7641-4b10-bb82-27245654a50a" providerId="ADAL" clId="{05A8CA33-8AB0-4B87-A00A-3A9C909B6976}" dt="2024-01-23T19:16:26.587" v="1446"/>
          <ac:inkMkLst>
            <pc:docMk/>
            <pc:sldMk cId="1820970117" sldId="330"/>
            <ac:inkMk id="65" creationId="{ED0834DA-9CDE-A352-7CE2-8D5989D60A3E}"/>
          </ac:inkMkLst>
        </pc:inkChg>
        <pc:inkChg chg="mod">
          <ac:chgData name="Michele Rocco" userId="b98ebe7a-7641-4b10-bb82-27245654a50a" providerId="ADAL" clId="{05A8CA33-8AB0-4B87-A00A-3A9C909B6976}" dt="2024-01-23T19:16:26.587" v="1446"/>
          <ac:inkMkLst>
            <pc:docMk/>
            <pc:sldMk cId="1820970117" sldId="330"/>
            <ac:inkMk id="66" creationId="{336B7F27-C7F6-D258-22FF-AB350D47F367}"/>
          </ac:inkMkLst>
        </pc:inkChg>
        <pc:inkChg chg="mod">
          <ac:chgData name="Michele Rocco" userId="b98ebe7a-7641-4b10-bb82-27245654a50a" providerId="ADAL" clId="{05A8CA33-8AB0-4B87-A00A-3A9C909B6976}" dt="2024-01-23T19:16:26.587" v="1446"/>
          <ac:inkMkLst>
            <pc:docMk/>
            <pc:sldMk cId="1820970117" sldId="330"/>
            <ac:inkMk id="67" creationId="{88CE3D3D-7FE7-4300-542F-BA603C84AF96}"/>
          </ac:inkMkLst>
        </pc:inkChg>
        <pc:inkChg chg="mod">
          <ac:chgData name="Michele Rocco" userId="b98ebe7a-7641-4b10-bb82-27245654a50a" providerId="ADAL" clId="{05A8CA33-8AB0-4B87-A00A-3A9C909B6976}" dt="2024-01-23T19:16:26.587" v="1446"/>
          <ac:inkMkLst>
            <pc:docMk/>
            <pc:sldMk cId="1820970117" sldId="330"/>
            <ac:inkMk id="68" creationId="{F3E00804-EC3F-598E-4066-93EEA86FE888}"/>
          </ac:inkMkLst>
        </pc:inkChg>
        <pc:inkChg chg="mod">
          <ac:chgData name="Michele Rocco" userId="b98ebe7a-7641-4b10-bb82-27245654a50a" providerId="ADAL" clId="{05A8CA33-8AB0-4B87-A00A-3A9C909B6976}" dt="2024-01-23T19:16:26.587" v="1446"/>
          <ac:inkMkLst>
            <pc:docMk/>
            <pc:sldMk cId="1820970117" sldId="330"/>
            <ac:inkMk id="69" creationId="{DD0A0C59-161F-AEDB-F2B2-053447DBAB49}"/>
          </ac:inkMkLst>
        </pc:inkChg>
        <pc:inkChg chg="mod">
          <ac:chgData name="Michele Rocco" userId="b98ebe7a-7641-4b10-bb82-27245654a50a" providerId="ADAL" clId="{05A8CA33-8AB0-4B87-A00A-3A9C909B6976}" dt="2024-01-23T19:16:26.587" v="1446"/>
          <ac:inkMkLst>
            <pc:docMk/>
            <pc:sldMk cId="1820970117" sldId="330"/>
            <ac:inkMk id="70" creationId="{4505FF45-44CB-A369-00E7-445938AB90DD}"/>
          </ac:inkMkLst>
        </pc:inkChg>
        <pc:inkChg chg="mod">
          <ac:chgData name="Michele Rocco" userId="b98ebe7a-7641-4b10-bb82-27245654a50a" providerId="ADAL" clId="{05A8CA33-8AB0-4B87-A00A-3A9C909B6976}" dt="2024-01-23T19:16:26.587" v="1446"/>
          <ac:inkMkLst>
            <pc:docMk/>
            <pc:sldMk cId="1820970117" sldId="330"/>
            <ac:inkMk id="71" creationId="{61BC4A4D-7A99-E2CD-A02D-ECD3EDFBDDC7}"/>
          </ac:inkMkLst>
        </pc:inkChg>
        <pc:inkChg chg="mod">
          <ac:chgData name="Michele Rocco" userId="b98ebe7a-7641-4b10-bb82-27245654a50a" providerId="ADAL" clId="{05A8CA33-8AB0-4B87-A00A-3A9C909B6976}" dt="2024-01-23T19:16:26.587" v="1446"/>
          <ac:inkMkLst>
            <pc:docMk/>
            <pc:sldMk cId="1820970117" sldId="330"/>
            <ac:inkMk id="72" creationId="{AD2F5041-B8CB-9221-D5C4-632F4C2E4F01}"/>
          </ac:inkMkLst>
        </pc:inkChg>
        <pc:inkChg chg="mod">
          <ac:chgData name="Michele Rocco" userId="b98ebe7a-7641-4b10-bb82-27245654a50a" providerId="ADAL" clId="{05A8CA33-8AB0-4B87-A00A-3A9C909B6976}" dt="2024-01-23T19:16:26.587" v="1446"/>
          <ac:inkMkLst>
            <pc:docMk/>
            <pc:sldMk cId="1820970117" sldId="330"/>
            <ac:inkMk id="73" creationId="{F30DB2F1-70E9-58F7-1453-8BD33D46188B}"/>
          </ac:inkMkLst>
        </pc:inkChg>
        <pc:inkChg chg="mod">
          <ac:chgData name="Michele Rocco" userId="b98ebe7a-7641-4b10-bb82-27245654a50a" providerId="ADAL" clId="{05A8CA33-8AB0-4B87-A00A-3A9C909B6976}" dt="2024-01-23T19:16:26.587" v="1446"/>
          <ac:inkMkLst>
            <pc:docMk/>
            <pc:sldMk cId="1820970117" sldId="330"/>
            <ac:inkMk id="74" creationId="{D850674E-2F5F-AB18-98C0-DFEF8FBD2E06}"/>
          </ac:inkMkLst>
        </pc:inkChg>
        <pc:inkChg chg="mod">
          <ac:chgData name="Michele Rocco" userId="b98ebe7a-7641-4b10-bb82-27245654a50a" providerId="ADAL" clId="{05A8CA33-8AB0-4B87-A00A-3A9C909B6976}" dt="2024-01-23T19:16:26.587" v="1446"/>
          <ac:inkMkLst>
            <pc:docMk/>
            <pc:sldMk cId="1820970117" sldId="330"/>
            <ac:inkMk id="75" creationId="{2E356A71-F055-595F-C9F8-7E967953ABDC}"/>
          </ac:inkMkLst>
        </pc:inkChg>
        <pc:inkChg chg="mod">
          <ac:chgData name="Michele Rocco" userId="b98ebe7a-7641-4b10-bb82-27245654a50a" providerId="ADAL" clId="{05A8CA33-8AB0-4B87-A00A-3A9C909B6976}" dt="2024-01-23T19:16:26.587" v="1446"/>
          <ac:inkMkLst>
            <pc:docMk/>
            <pc:sldMk cId="1820970117" sldId="330"/>
            <ac:inkMk id="76" creationId="{3CA2915E-1029-3056-7148-5476BD4184B0}"/>
          </ac:inkMkLst>
        </pc:inkChg>
        <pc:inkChg chg="mod">
          <ac:chgData name="Michele Rocco" userId="b98ebe7a-7641-4b10-bb82-27245654a50a" providerId="ADAL" clId="{05A8CA33-8AB0-4B87-A00A-3A9C909B6976}" dt="2024-01-23T19:16:26.587" v="1446"/>
          <ac:inkMkLst>
            <pc:docMk/>
            <pc:sldMk cId="1820970117" sldId="330"/>
            <ac:inkMk id="77" creationId="{DDA4F934-7E0E-AE24-6DB5-437FD7543E4D}"/>
          </ac:inkMkLst>
        </pc:inkChg>
        <pc:inkChg chg="mod">
          <ac:chgData name="Michele Rocco" userId="b98ebe7a-7641-4b10-bb82-27245654a50a" providerId="ADAL" clId="{05A8CA33-8AB0-4B87-A00A-3A9C909B6976}" dt="2024-01-23T19:16:26.587" v="1446"/>
          <ac:inkMkLst>
            <pc:docMk/>
            <pc:sldMk cId="1820970117" sldId="330"/>
            <ac:inkMk id="78" creationId="{411155A3-D44C-B647-129C-A7256FE1BFB5}"/>
          </ac:inkMkLst>
        </pc:inkChg>
        <pc:inkChg chg="add del mod">
          <ac:chgData name="Michele Rocco" userId="b98ebe7a-7641-4b10-bb82-27245654a50a" providerId="ADAL" clId="{05A8CA33-8AB0-4B87-A00A-3A9C909B6976}" dt="2024-01-24T07:26:38.388" v="1468" actId="478"/>
          <ac:inkMkLst>
            <pc:docMk/>
            <pc:sldMk cId="1820970117" sldId="330"/>
            <ac:inkMk id="79" creationId="{5CDDB63F-B93D-9681-4701-C437F6BC6C2A}"/>
          </ac:inkMkLst>
        </pc:inkChg>
        <pc:inkChg chg="add del mod">
          <ac:chgData name="Michele Rocco" userId="b98ebe7a-7641-4b10-bb82-27245654a50a" providerId="ADAL" clId="{05A8CA33-8AB0-4B87-A00A-3A9C909B6976}" dt="2024-01-24T07:26:38.388" v="1468" actId="478"/>
          <ac:inkMkLst>
            <pc:docMk/>
            <pc:sldMk cId="1820970117" sldId="330"/>
            <ac:inkMk id="80" creationId="{B544EB51-3E61-38BB-A8BE-782ADF50F186}"/>
          </ac:inkMkLst>
        </pc:inkChg>
        <pc:inkChg chg="add del mod">
          <ac:chgData name="Michele Rocco" userId="b98ebe7a-7641-4b10-bb82-27245654a50a" providerId="ADAL" clId="{05A8CA33-8AB0-4B87-A00A-3A9C909B6976}" dt="2024-01-24T07:26:38.388" v="1468" actId="478"/>
          <ac:inkMkLst>
            <pc:docMk/>
            <pc:sldMk cId="1820970117" sldId="330"/>
            <ac:inkMk id="81" creationId="{718CE26F-F0DF-A765-5DB3-6FFF61A4B89E}"/>
          </ac:inkMkLst>
        </pc:inkChg>
        <pc:inkChg chg="add del mod">
          <ac:chgData name="Michele Rocco" userId="b98ebe7a-7641-4b10-bb82-27245654a50a" providerId="ADAL" clId="{05A8CA33-8AB0-4B87-A00A-3A9C909B6976}" dt="2024-01-24T07:26:38.388" v="1468" actId="478"/>
          <ac:inkMkLst>
            <pc:docMk/>
            <pc:sldMk cId="1820970117" sldId="330"/>
            <ac:inkMk id="82" creationId="{BE77742C-7254-FC69-9A49-EBB763673B48}"/>
          </ac:inkMkLst>
        </pc:inkChg>
        <pc:inkChg chg="add del mod">
          <ac:chgData name="Michele Rocco" userId="b98ebe7a-7641-4b10-bb82-27245654a50a" providerId="ADAL" clId="{05A8CA33-8AB0-4B87-A00A-3A9C909B6976}" dt="2024-01-24T07:26:38.388" v="1468" actId="478"/>
          <ac:inkMkLst>
            <pc:docMk/>
            <pc:sldMk cId="1820970117" sldId="330"/>
            <ac:inkMk id="83" creationId="{30D099D6-502F-64D4-4C79-C886BE99E572}"/>
          </ac:inkMkLst>
        </pc:inkChg>
      </pc:sldChg>
      <pc:sldChg chg="addSp delSp modSp new mod modNotesTx">
        <pc:chgData name="Michele Rocco" userId="b98ebe7a-7641-4b10-bb82-27245654a50a" providerId="ADAL" clId="{05A8CA33-8AB0-4B87-A00A-3A9C909B6976}" dt="2024-01-24T08:44:24.924" v="9519" actId="20577"/>
        <pc:sldMkLst>
          <pc:docMk/>
          <pc:sldMk cId="2719045758" sldId="331"/>
        </pc:sldMkLst>
        <pc:spChg chg="mod">
          <ac:chgData name="Michele Rocco" userId="b98ebe7a-7641-4b10-bb82-27245654a50a" providerId="ADAL" clId="{05A8CA33-8AB0-4B87-A00A-3A9C909B6976}" dt="2024-01-24T07:33:07.287" v="1499" actId="14100"/>
          <ac:spMkLst>
            <pc:docMk/>
            <pc:sldMk cId="2719045758" sldId="331"/>
            <ac:spMk id="2" creationId="{2DE7B6B3-A861-C550-F60E-2B1287FB6E44}"/>
          </ac:spMkLst>
        </pc:spChg>
        <pc:spChg chg="mod">
          <ac:chgData name="Michele Rocco" userId="b98ebe7a-7641-4b10-bb82-27245654a50a" providerId="ADAL" clId="{05A8CA33-8AB0-4B87-A00A-3A9C909B6976}" dt="2024-01-23T18:55:05.820" v="1376" actId="20577"/>
          <ac:spMkLst>
            <pc:docMk/>
            <pc:sldMk cId="2719045758" sldId="331"/>
            <ac:spMk id="3" creationId="{CE529870-F6CB-3F52-E0B0-F76CBD969F21}"/>
          </ac:spMkLst>
        </pc:spChg>
        <pc:picChg chg="add del mod">
          <ac:chgData name="Michele Rocco" userId="b98ebe7a-7641-4b10-bb82-27245654a50a" providerId="ADAL" clId="{05A8CA33-8AB0-4B87-A00A-3A9C909B6976}" dt="2024-01-23T19:12:18.813" v="1422" actId="478"/>
          <ac:picMkLst>
            <pc:docMk/>
            <pc:sldMk cId="2719045758" sldId="331"/>
            <ac:picMk id="7" creationId="{D6CACD37-CB83-6196-08CC-7D5722A436CB}"/>
          </ac:picMkLst>
        </pc:picChg>
        <pc:picChg chg="add mod">
          <ac:chgData name="Michele Rocco" userId="b98ebe7a-7641-4b10-bb82-27245654a50a" providerId="ADAL" clId="{05A8CA33-8AB0-4B87-A00A-3A9C909B6976}" dt="2024-01-23T19:12:08.622" v="1420"/>
          <ac:picMkLst>
            <pc:docMk/>
            <pc:sldMk cId="2719045758" sldId="331"/>
            <ac:picMk id="9" creationId="{7DD1AC8A-BE84-A182-365F-AA710E47D1C6}"/>
          </ac:picMkLst>
        </pc:picChg>
        <pc:picChg chg="add mod">
          <ac:chgData name="Michele Rocco" userId="b98ebe7a-7641-4b10-bb82-27245654a50a" providerId="ADAL" clId="{05A8CA33-8AB0-4B87-A00A-3A9C909B6976}" dt="2024-01-23T19:13:57.763" v="1430" actId="14826"/>
          <ac:picMkLst>
            <pc:docMk/>
            <pc:sldMk cId="2719045758" sldId="331"/>
            <ac:picMk id="11" creationId="{D38B27AD-2793-547A-E6E5-7CAC6356DC35}"/>
          </ac:picMkLst>
        </pc:picChg>
      </pc:sldChg>
      <pc:sldMasterChg chg="modSldLayout">
        <pc:chgData name="Michele Rocco" userId="b98ebe7a-7641-4b10-bb82-27245654a50a" providerId="ADAL" clId="{05A8CA33-8AB0-4B87-A00A-3A9C909B6976}" dt="2024-01-23T20:00:00.676" v="1466" actId="14826"/>
        <pc:sldMasterMkLst>
          <pc:docMk/>
          <pc:sldMasterMk cId="0" sldId="2147483715"/>
        </pc:sldMasterMkLst>
        <pc:sldLayoutChg chg="modSp mod">
          <pc:chgData name="Michele Rocco" userId="b98ebe7a-7641-4b10-bb82-27245654a50a" providerId="ADAL" clId="{05A8CA33-8AB0-4B87-A00A-3A9C909B6976}" dt="2024-01-23T20:00:00.676" v="1466" actId="14826"/>
          <pc:sldLayoutMkLst>
            <pc:docMk/>
            <pc:sldMasterMk cId="0" sldId="2147483715"/>
            <pc:sldLayoutMk cId="197727015" sldId="2147483753"/>
          </pc:sldLayoutMkLst>
          <pc:spChg chg="mod">
            <ac:chgData name="Michele Rocco" userId="b98ebe7a-7641-4b10-bb82-27245654a50a" providerId="ADAL" clId="{05A8CA33-8AB0-4B87-A00A-3A9C909B6976}" dt="2024-01-23T20:00:00.382" v="1465" actId="207"/>
            <ac:spMkLst>
              <pc:docMk/>
              <pc:sldMasterMk cId="0" sldId="2147483715"/>
              <pc:sldLayoutMk cId="197727015" sldId="2147483753"/>
              <ac:spMk id="25" creationId="{E19F9FB8-5294-E57F-CBFE-D1A6B4048FC7}"/>
            </ac:spMkLst>
          </pc:spChg>
          <pc:spChg chg="mod">
            <ac:chgData name="Michele Rocco" userId="b98ebe7a-7641-4b10-bb82-27245654a50a" providerId="ADAL" clId="{05A8CA33-8AB0-4B87-A00A-3A9C909B6976}" dt="2024-01-23T20:00:00.073" v="1464" actId="207"/>
            <ac:spMkLst>
              <pc:docMk/>
              <pc:sldMasterMk cId="0" sldId="2147483715"/>
              <pc:sldLayoutMk cId="197727015" sldId="2147483753"/>
              <ac:spMk id="27" creationId="{F5CEC03E-16AB-863B-452B-4B4C8B54FE14}"/>
            </ac:spMkLst>
          </pc:spChg>
          <pc:picChg chg="mod">
            <ac:chgData name="Michele Rocco" userId="b98ebe7a-7641-4b10-bb82-27245654a50a" providerId="ADAL" clId="{05A8CA33-8AB0-4B87-A00A-3A9C909B6976}" dt="2024-01-23T20:00:00.676" v="1466" actId="14826"/>
            <ac:picMkLst>
              <pc:docMk/>
              <pc:sldMasterMk cId="0" sldId="2147483715"/>
              <pc:sldLayoutMk cId="197727015" sldId="2147483753"/>
              <ac:picMk id="24" creationId="{DF98B2F7-BEAF-17E3-0C2E-7C9AB8F8F641}"/>
            </ac:picMkLst>
          </pc:picChg>
        </pc:sldLayoutChg>
      </pc:sldMasterChg>
    </pc:docChg>
  </pc:docChgLst>
  <pc:docChgLst>
    <pc:chgData name="Luca Ricci" userId="S::10451631@polimi.it::ee5f09d5-0832-4e68-94c9-d8bfd2ad04f0" providerId="AD" clId="Web-{06B5F6D7-F6D5-A4D6-60C7-D2A963F38002}"/>
    <pc:docChg chg="modSld">
      <pc:chgData name="Luca Ricci" userId="S::10451631@polimi.it::ee5f09d5-0832-4e68-94c9-d8bfd2ad04f0" providerId="AD" clId="Web-{06B5F6D7-F6D5-A4D6-60C7-D2A963F38002}" dt="2024-01-24T10:26:41.869" v="2"/>
      <pc:docMkLst>
        <pc:docMk/>
      </pc:docMkLst>
      <pc:sldChg chg="addSp delSp modSp">
        <pc:chgData name="Luca Ricci" userId="S::10451631@polimi.it::ee5f09d5-0832-4e68-94c9-d8bfd2ad04f0" providerId="AD" clId="Web-{06B5F6D7-F6D5-A4D6-60C7-D2A963F38002}" dt="2024-01-24T10:26:41.869" v="2"/>
        <pc:sldMkLst>
          <pc:docMk/>
          <pc:sldMk cId="4109715435" sldId="313"/>
        </pc:sldMkLst>
        <pc:picChg chg="add del mod">
          <ac:chgData name="Luca Ricci" userId="S::10451631@polimi.it::ee5f09d5-0832-4e68-94c9-d8bfd2ad04f0" providerId="AD" clId="Web-{06B5F6D7-F6D5-A4D6-60C7-D2A963F38002}" dt="2024-01-24T10:26:41.869" v="2"/>
          <ac:picMkLst>
            <pc:docMk/>
            <pc:sldMk cId="4109715435" sldId="313"/>
            <ac:picMk id="6" creationId="{EB92A031-3D59-B665-2EA9-EC72CFBD5D90}"/>
          </ac:picMkLst>
        </pc:picChg>
      </pc:sldChg>
    </pc:docChg>
  </pc:docChgLst>
  <pc:docChgLst>
    <pc:chgData name="Luca Ricci" userId="ee5f09d5-0832-4e68-94c9-d8bfd2ad04f0" providerId="ADAL" clId="{D501E5E2-574F-6542-B665-A334471D5578}"/>
    <pc:docChg chg="undo redo custSel addSld delSld modSld sldOrd addMainMaster delMainMaster modMainMaster">
      <pc:chgData name="Luca Ricci" userId="ee5f09d5-0832-4e68-94c9-d8bfd2ad04f0" providerId="ADAL" clId="{D501E5E2-574F-6542-B665-A334471D5578}" dt="2023-12-18T18:21:18.871" v="11144" actId="729"/>
      <pc:docMkLst>
        <pc:docMk/>
      </pc:docMkLst>
      <pc:sldChg chg="addSp modSp">
        <pc:chgData name="Luca Ricci" userId="ee5f09d5-0832-4e68-94c9-d8bfd2ad04f0" providerId="ADAL" clId="{D501E5E2-574F-6542-B665-A334471D5578}" dt="2023-12-18T09:06:53.402" v="653"/>
        <pc:sldMkLst>
          <pc:docMk/>
          <pc:sldMk cId="895135860" sldId="257"/>
        </pc:sldMkLst>
        <pc:spChg chg="add mod">
          <ac:chgData name="Luca Ricci" userId="ee5f09d5-0832-4e68-94c9-d8bfd2ad04f0" providerId="ADAL" clId="{D501E5E2-574F-6542-B665-A334471D5578}" dt="2023-12-18T09:06:53.402" v="653"/>
          <ac:spMkLst>
            <pc:docMk/>
            <pc:sldMk cId="895135860" sldId="257"/>
            <ac:spMk id="2" creationId="{D2564175-C9EF-3B93-134E-A687C1E19C6C}"/>
          </ac:spMkLst>
        </pc:spChg>
        <pc:spChg chg="add mod">
          <ac:chgData name="Luca Ricci" userId="ee5f09d5-0832-4e68-94c9-d8bfd2ad04f0" providerId="ADAL" clId="{D501E5E2-574F-6542-B665-A334471D5578}" dt="2023-12-18T09:06:53.402" v="653"/>
          <ac:spMkLst>
            <pc:docMk/>
            <pc:sldMk cId="895135860" sldId="257"/>
            <ac:spMk id="3" creationId="{C4C29F39-0E99-0D32-4784-3D6A3174A854}"/>
          </ac:spMkLst>
        </pc:spChg>
        <pc:spChg chg="add mod">
          <ac:chgData name="Luca Ricci" userId="ee5f09d5-0832-4e68-94c9-d8bfd2ad04f0" providerId="ADAL" clId="{D501E5E2-574F-6542-B665-A334471D5578}" dt="2023-12-18T09:06:53.402" v="653"/>
          <ac:spMkLst>
            <pc:docMk/>
            <pc:sldMk cId="895135860" sldId="257"/>
            <ac:spMk id="4" creationId="{FB609C30-E72C-1417-8E45-3611EB176DFD}"/>
          </ac:spMkLst>
        </pc:spChg>
      </pc:sldChg>
      <pc:sldChg chg="addSp delSp modSp mod modClrScheme chgLayout">
        <pc:chgData name="Luca Ricci" userId="ee5f09d5-0832-4e68-94c9-d8bfd2ad04f0" providerId="ADAL" clId="{D501E5E2-574F-6542-B665-A334471D5578}" dt="2023-12-18T09:06:53.402" v="653"/>
        <pc:sldMkLst>
          <pc:docMk/>
          <pc:sldMk cId="3601296254" sldId="258"/>
        </pc:sldMkLst>
        <pc:spChg chg="del mod ord">
          <ac:chgData name="Luca Ricci" userId="ee5f09d5-0832-4e68-94c9-d8bfd2ad04f0" providerId="ADAL" clId="{D501E5E2-574F-6542-B665-A334471D5578}" dt="2023-12-18T08:20:01.623" v="210" actId="700"/>
          <ac:spMkLst>
            <pc:docMk/>
            <pc:sldMk cId="3601296254" sldId="258"/>
            <ac:spMk id="2" creationId="{CCB29A08-B983-492B-BF60-186DB105E3DB}"/>
          </ac:spMkLst>
        </pc:spChg>
        <pc:spChg chg="add mod ord">
          <ac:chgData name="Luca Ricci" userId="ee5f09d5-0832-4e68-94c9-d8bfd2ad04f0" providerId="ADAL" clId="{D501E5E2-574F-6542-B665-A334471D5578}" dt="2023-12-18T09:06:32.953" v="652" actId="20577"/>
          <ac:spMkLst>
            <pc:docMk/>
            <pc:sldMk cId="3601296254" sldId="258"/>
            <ac:spMk id="3" creationId="{90D17616-C6F6-5E72-B3B8-B8737DA3DB23}"/>
          </ac:spMkLst>
        </pc:spChg>
        <pc:spChg chg="add mod ord">
          <ac:chgData name="Luca Ricci" userId="ee5f09d5-0832-4e68-94c9-d8bfd2ad04f0" providerId="ADAL" clId="{D501E5E2-574F-6542-B665-A334471D5578}" dt="2023-12-18T09:06:11.757" v="623" actId="5793"/>
          <ac:spMkLst>
            <pc:docMk/>
            <pc:sldMk cId="3601296254" sldId="258"/>
            <ac:spMk id="4" creationId="{1AC29BDC-7CB8-266E-07CF-D9D5D9169AC3}"/>
          </ac:spMkLst>
        </pc:spChg>
        <pc:spChg chg="add mod">
          <ac:chgData name="Luca Ricci" userId="ee5f09d5-0832-4e68-94c9-d8bfd2ad04f0" providerId="ADAL" clId="{D501E5E2-574F-6542-B665-A334471D5578}" dt="2023-12-18T09:06:53.402" v="653"/>
          <ac:spMkLst>
            <pc:docMk/>
            <pc:sldMk cId="3601296254" sldId="258"/>
            <ac:spMk id="5" creationId="{7320F8E3-EA9B-AD24-77A4-B9D43D6203B6}"/>
          </ac:spMkLst>
        </pc:spChg>
        <pc:spChg chg="add mod">
          <ac:chgData name="Luca Ricci" userId="ee5f09d5-0832-4e68-94c9-d8bfd2ad04f0" providerId="ADAL" clId="{D501E5E2-574F-6542-B665-A334471D5578}" dt="2023-12-18T09:06:53.402" v="653"/>
          <ac:spMkLst>
            <pc:docMk/>
            <pc:sldMk cId="3601296254" sldId="258"/>
            <ac:spMk id="6" creationId="{7FB64869-3AB3-60D0-1493-68013A210278}"/>
          </ac:spMkLst>
        </pc:spChg>
        <pc:spChg chg="add mod">
          <ac:chgData name="Luca Ricci" userId="ee5f09d5-0832-4e68-94c9-d8bfd2ad04f0" providerId="ADAL" clId="{D501E5E2-574F-6542-B665-A334471D5578}" dt="2023-12-18T09:06:53.402" v="653"/>
          <ac:spMkLst>
            <pc:docMk/>
            <pc:sldMk cId="3601296254" sldId="258"/>
            <ac:spMk id="7" creationId="{2C1B45AB-9D9F-27AF-2E73-E37392412CCF}"/>
          </ac:spMkLst>
        </pc:spChg>
      </pc:sldChg>
      <pc:sldChg chg="addSp delSp modSp mod modClrScheme chgLayout">
        <pc:chgData name="Luca Ricci" userId="ee5f09d5-0832-4e68-94c9-d8bfd2ad04f0" providerId="ADAL" clId="{D501E5E2-574F-6542-B665-A334471D5578}" dt="2023-12-18T18:19:36.528" v="11142" actId="20577"/>
        <pc:sldMkLst>
          <pc:docMk/>
          <pc:sldMk cId="1625672892" sldId="259"/>
        </pc:sldMkLst>
        <pc:spChg chg="mod ord">
          <ac:chgData name="Luca Ricci" userId="ee5f09d5-0832-4e68-94c9-d8bfd2ad04f0" providerId="ADAL" clId="{D501E5E2-574F-6542-B665-A334471D5578}" dt="2023-12-18T09:28:40.383" v="807" actId="20577"/>
          <ac:spMkLst>
            <pc:docMk/>
            <pc:sldMk cId="1625672892" sldId="259"/>
            <ac:spMk id="2" creationId="{96B142A3-3E18-4302-85FC-39EF0216B791}"/>
          </ac:spMkLst>
        </pc:spChg>
        <pc:spChg chg="del mod">
          <ac:chgData name="Luca Ricci" userId="ee5f09d5-0832-4e68-94c9-d8bfd2ad04f0" providerId="ADAL" clId="{D501E5E2-574F-6542-B665-A334471D5578}" dt="2023-12-18T09:27:08.184" v="758" actId="700"/>
          <ac:spMkLst>
            <pc:docMk/>
            <pc:sldMk cId="1625672892" sldId="259"/>
            <ac:spMk id="3" creationId="{E0560B38-ED9A-4688-A544-CA41460ADE15}"/>
          </ac:spMkLst>
        </pc:spChg>
        <pc:spChg chg="add mod">
          <ac:chgData name="Luca Ricci" userId="ee5f09d5-0832-4e68-94c9-d8bfd2ad04f0" providerId="ADAL" clId="{D501E5E2-574F-6542-B665-A334471D5578}" dt="2023-12-18T09:06:53.402" v="653"/>
          <ac:spMkLst>
            <pc:docMk/>
            <pc:sldMk cId="1625672892" sldId="259"/>
            <ac:spMk id="4" creationId="{AE04079E-5E0C-B09A-31EF-4BAC92C76053}"/>
          </ac:spMkLst>
        </pc:spChg>
        <pc:spChg chg="add mod">
          <ac:chgData name="Luca Ricci" userId="ee5f09d5-0832-4e68-94c9-d8bfd2ad04f0" providerId="ADAL" clId="{D501E5E2-574F-6542-B665-A334471D5578}" dt="2023-12-18T09:06:53.402" v="653"/>
          <ac:spMkLst>
            <pc:docMk/>
            <pc:sldMk cId="1625672892" sldId="259"/>
            <ac:spMk id="5" creationId="{093F932A-91E0-B582-BF2F-5485DF901675}"/>
          </ac:spMkLst>
        </pc:spChg>
        <pc:spChg chg="add mod">
          <ac:chgData name="Luca Ricci" userId="ee5f09d5-0832-4e68-94c9-d8bfd2ad04f0" providerId="ADAL" clId="{D501E5E2-574F-6542-B665-A334471D5578}" dt="2023-12-18T09:06:53.402" v="653"/>
          <ac:spMkLst>
            <pc:docMk/>
            <pc:sldMk cId="1625672892" sldId="259"/>
            <ac:spMk id="6" creationId="{635F2D69-9F04-B46D-3214-C329667F23F1}"/>
          </ac:spMkLst>
        </pc:spChg>
        <pc:spChg chg="add del mod ord">
          <ac:chgData name="Luca Ricci" userId="ee5f09d5-0832-4e68-94c9-d8bfd2ad04f0" providerId="ADAL" clId="{D501E5E2-574F-6542-B665-A334471D5578}" dt="2023-12-18T09:27:56.923" v="764" actId="931"/>
          <ac:spMkLst>
            <pc:docMk/>
            <pc:sldMk cId="1625672892" sldId="259"/>
            <ac:spMk id="9" creationId="{C34AE186-9A41-7F93-E4AD-C193DB0E2702}"/>
          </ac:spMkLst>
        </pc:spChg>
        <pc:spChg chg="add mod ord">
          <ac:chgData name="Luca Ricci" userId="ee5f09d5-0832-4e68-94c9-d8bfd2ad04f0" providerId="ADAL" clId="{D501E5E2-574F-6542-B665-A334471D5578}" dt="2023-12-18T18:19:36.528" v="11142" actId="20577"/>
          <ac:spMkLst>
            <pc:docMk/>
            <pc:sldMk cId="1625672892" sldId="259"/>
            <ac:spMk id="10" creationId="{5A82A501-62D7-BA88-FCEA-42DF25F31526}"/>
          </ac:spMkLst>
        </pc:spChg>
        <pc:spChg chg="add del mod">
          <ac:chgData name="Luca Ricci" userId="ee5f09d5-0832-4e68-94c9-d8bfd2ad04f0" providerId="ADAL" clId="{D501E5E2-574F-6542-B665-A334471D5578}" dt="2023-12-18T09:40:40.035" v="1273" actId="931"/>
          <ac:spMkLst>
            <pc:docMk/>
            <pc:sldMk cId="1625672892" sldId="259"/>
            <ac:spMk id="14" creationId="{8FD93D57-1B13-BBFE-3D74-53ED21EC04A7}"/>
          </ac:spMkLst>
        </pc:spChg>
        <pc:picChg chg="add del mod">
          <ac:chgData name="Luca Ricci" userId="ee5f09d5-0832-4e68-94c9-d8bfd2ad04f0" providerId="ADAL" clId="{D501E5E2-574F-6542-B665-A334471D5578}" dt="2023-12-18T09:27:38.474" v="762" actId="478"/>
          <ac:picMkLst>
            <pc:docMk/>
            <pc:sldMk cId="1625672892" sldId="259"/>
            <ac:picMk id="8" creationId="{DE5DFFEA-D991-CC39-97A3-95ED20465A48}"/>
          </ac:picMkLst>
        </pc:picChg>
        <pc:picChg chg="add del mod">
          <ac:chgData name="Luca Ricci" userId="ee5f09d5-0832-4e68-94c9-d8bfd2ad04f0" providerId="ADAL" clId="{D501E5E2-574F-6542-B665-A334471D5578}" dt="2023-12-18T09:40:30.671" v="1272" actId="478"/>
          <ac:picMkLst>
            <pc:docMk/>
            <pc:sldMk cId="1625672892" sldId="259"/>
            <ac:picMk id="12" creationId="{EB74877C-723D-8C93-7F51-B2F480B9553E}"/>
          </ac:picMkLst>
        </pc:picChg>
        <pc:picChg chg="add mod">
          <ac:chgData name="Luca Ricci" userId="ee5f09d5-0832-4e68-94c9-d8bfd2ad04f0" providerId="ADAL" clId="{D501E5E2-574F-6542-B665-A334471D5578}" dt="2023-12-18T09:40:51.237" v="1276" actId="14100"/>
          <ac:picMkLst>
            <pc:docMk/>
            <pc:sldMk cId="1625672892" sldId="259"/>
            <ac:picMk id="16" creationId="{69C012A2-2CBB-CC32-EDF2-0B6DFA6D9245}"/>
          </ac:picMkLst>
        </pc:picChg>
      </pc:sldChg>
      <pc:sldChg chg="addSp delSp modSp mod modClrScheme chgLayout">
        <pc:chgData name="Luca Ricci" userId="ee5f09d5-0832-4e68-94c9-d8bfd2ad04f0" providerId="ADAL" clId="{D501E5E2-574F-6542-B665-A334471D5578}" dt="2023-12-18T18:18:50.640" v="11129" actId="20577"/>
        <pc:sldMkLst>
          <pc:docMk/>
          <pc:sldMk cId="913701754" sldId="267"/>
        </pc:sldMkLst>
        <pc:spChg chg="add mod ord">
          <ac:chgData name="Luca Ricci" userId="ee5f09d5-0832-4e68-94c9-d8bfd2ad04f0" providerId="ADAL" clId="{D501E5E2-574F-6542-B665-A334471D5578}" dt="2023-12-18T13:47:37.487" v="7642" actId="20577"/>
          <ac:spMkLst>
            <pc:docMk/>
            <pc:sldMk cId="913701754" sldId="267"/>
            <ac:spMk id="2" creationId="{B40086CB-E149-4C33-F1BF-6132B0867F59}"/>
          </ac:spMkLst>
        </pc:spChg>
        <pc:spChg chg="add mod ord">
          <ac:chgData name="Luca Ricci" userId="ee5f09d5-0832-4e68-94c9-d8bfd2ad04f0" providerId="ADAL" clId="{D501E5E2-574F-6542-B665-A334471D5578}" dt="2023-12-18T18:18:50.640" v="11129" actId="20577"/>
          <ac:spMkLst>
            <pc:docMk/>
            <pc:sldMk cId="913701754" sldId="267"/>
            <ac:spMk id="3" creationId="{8D39D37D-9355-8216-502B-248CE6B8D7D6}"/>
          </ac:spMkLst>
        </pc:spChg>
        <pc:spChg chg="add del mod ord">
          <ac:chgData name="Luca Ricci" userId="ee5f09d5-0832-4e68-94c9-d8bfd2ad04f0" providerId="ADAL" clId="{D501E5E2-574F-6542-B665-A334471D5578}" dt="2023-12-18T08:19:41.594" v="209" actId="700"/>
          <ac:spMkLst>
            <pc:docMk/>
            <pc:sldMk cId="913701754" sldId="267"/>
            <ac:spMk id="4" creationId="{0D2DED1B-73B1-B0BA-36B5-509A78042FE9}"/>
          </ac:spMkLst>
        </pc:spChg>
        <pc:spChg chg="mod ord">
          <ac:chgData name="Luca Ricci" userId="ee5f09d5-0832-4e68-94c9-d8bfd2ad04f0" providerId="ADAL" clId="{D501E5E2-574F-6542-B665-A334471D5578}" dt="2023-12-18T09:13:17.782" v="698" actId="700"/>
          <ac:spMkLst>
            <pc:docMk/>
            <pc:sldMk cId="913701754" sldId="267"/>
            <ac:spMk id="5" creationId="{E21AFF28-0883-405B-A8DD-D42393A233A2}"/>
          </ac:spMkLst>
        </pc:spChg>
        <pc:spChg chg="add del mod ord">
          <ac:chgData name="Luca Ricci" userId="ee5f09d5-0832-4e68-94c9-d8bfd2ad04f0" providerId="ADAL" clId="{D501E5E2-574F-6542-B665-A334471D5578}" dt="2023-12-18T09:02:20.701" v="482" actId="700"/>
          <ac:spMkLst>
            <pc:docMk/>
            <pc:sldMk cId="913701754" sldId="267"/>
            <ac:spMk id="8" creationId="{217B792B-0122-24F7-FF2A-6C7D634A97AD}"/>
          </ac:spMkLst>
        </pc:spChg>
        <pc:spChg chg="add mod">
          <ac:chgData name="Luca Ricci" userId="ee5f09d5-0832-4e68-94c9-d8bfd2ad04f0" providerId="ADAL" clId="{D501E5E2-574F-6542-B665-A334471D5578}" dt="2023-12-18T09:06:53.402" v="653"/>
          <ac:spMkLst>
            <pc:docMk/>
            <pc:sldMk cId="913701754" sldId="267"/>
            <ac:spMk id="9" creationId="{9EFF392B-32BC-BB90-E872-6D1F9AC4B7EB}"/>
          </ac:spMkLst>
        </pc:spChg>
        <pc:spChg chg="add mod">
          <ac:chgData name="Luca Ricci" userId="ee5f09d5-0832-4e68-94c9-d8bfd2ad04f0" providerId="ADAL" clId="{D501E5E2-574F-6542-B665-A334471D5578}" dt="2023-12-18T09:06:53.402" v="653"/>
          <ac:spMkLst>
            <pc:docMk/>
            <pc:sldMk cId="913701754" sldId="267"/>
            <ac:spMk id="10" creationId="{1D63E338-3196-8361-952F-5561020766FD}"/>
          </ac:spMkLst>
        </pc:spChg>
        <pc:spChg chg="del mod ord">
          <ac:chgData name="Luca Ricci" userId="ee5f09d5-0832-4e68-94c9-d8bfd2ad04f0" providerId="ADAL" clId="{D501E5E2-574F-6542-B665-A334471D5578}" dt="2023-12-18T08:17:50.366" v="14" actId="700"/>
          <ac:spMkLst>
            <pc:docMk/>
            <pc:sldMk cId="913701754" sldId="267"/>
            <ac:spMk id="20" creationId="{457D79A4-B774-F283-EF5E-EDFE0130FC03}"/>
          </ac:spMkLst>
        </pc:spChg>
        <pc:spChg chg="del mod ord">
          <ac:chgData name="Luca Ricci" userId="ee5f09d5-0832-4e68-94c9-d8bfd2ad04f0" providerId="ADAL" clId="{D501E5E2-574F-6542-B665-A334471D5578}" dt="2023-12-18T08:17:50.366" v="14" actId="700"/>
          <ac:spMkLst>
            <pc:docMk/>
            <pc:sldMk cId="913701754" sldId="267"/>
            <ac:spMk id="21" creationId="{255F264B-E505-588A-9605-3C51E4AB1FAB}"/>
          </ac:spMkLst>
        </pc:spChg>
        <pc:spChg chg="del mod ord">
          <ac:chgData name="Luca Ricci" userId="ee5f09d5-0832-4e68-94c9-d8bfd2ad04f0" providerId="ADAL" clId="{D501E5E2-574F-6542-B665-A334471D5578}" dt="2023-12-18T08:17:50.366" v="14" actId="700"/>
          <ac:spMkLst>
            <pc:docMk/>
            <pc:sldMk cId="913701754" sldId="267"/>
            <ac:spMk id="22" creationId="{7D01FEAD-26A1-B766-C97A-56B40A6FE3BC}"/>
          </ac:spMkLst>
        </pc:spChg>
        <pc:spChg chg="del">
          <ac:chgData name="Luca Ricci" userId="ee5f09d5-0832-4e68-94c9-d8bfd2ad04f0" providerId="ADAL" clId="{D501E5E2-574F-6542-B665-A334471D5578}" dt="2023-12-18T08:17:50.366" v="14" actId="700"/>
          <ac:spMkLst>
            <pc:docMk/>
            <pc:sldMk cId="913701754" sldId="267"/>
            <ac:spMk id="23" creationId="{7671A821-5F86-8FC3-A75D-B9F48E99632D}"/>
          </ac:spMkLst>
        </pc:spChg>
        <pc:picChg chg="add mod">
          <ac:chgData name="Luca Ricci" userId="ee5f09d5-0832-4e68-94c9-d8bfd2ad04f0" providerId="ADAL" clId="{D501E5E2-574F-6542-B665-A334471D5578}" dt="2023-12-18T08:19:33.044" v="208" actId="931"/>
          <ac:picMkLst>
            <pc:docMk/>
            <pc:sldMk cId="913701754" sldId="267"/>
            <ac:picMk id="7" creationId="{92DA9E47-B569-4E00-4286-C14900FD767B}"/>
          </ac:picMkLst>
        </pc:picChg>
      </pc:sldChg>
      <pc:sldChg chg="modSp new del mod ord">
        <pc:chgData name="Luca Ricci" userId="ee5f09d5-0832-4e68-94c9-d8bfd2ad04f0" providerId="ADAL" clId="{D501E5E2-574F-6542-B665-A334471D5578}" dt="2023-12-18T09:41:19.939" v="1279" actId="2696"/>
        <pc:sldMkLst>
          <pc:docMk/>
          <pc:sldMk cId="683889689" sldId="268"/>
        </pc:sldMkLst>
        <pc:spChg chg="mod">
          <ac:chgData name="Luca Ricci" userId="ee5f09d5-0832-4e68-94c9-d8bfd2ad04f0" providerId="ADAL" clId="{D501E5E2-574F-6542-B665-A334471D5578}" dt="2023-12-18T09:13:49.151" v="728" actId="20577"/>
          <ac:spMkLst>
            <pc:docMk/>
            <pc:sldMk cId="683889689" sldId="268"/>
            <ac:spMk id="3" creationId="{5DFB1B86-CF32-5C53-B05C-F91A75D47873}"/>
          </ac:spMkLst>
        </pc:spChg>
      </pc:sldChg>
      <pc:sldChg chg="modSp new del mod ord">
        <pc:chgData name="Luca Ricci" userId="ee5f09d5-0832-4e68-94c9-d8bfd2ad04f0" providerId="ADAL" clId="{D501E5E2-574F-6542-B665-A334471D5578}" dt="2023-12-18T12:37:13.655" v="7014" actId="2696"/>
        <pc:sldMkLst>
          <pc:docMk/>
          <pc:sldMk cId="2512870275" sldId="269"/>
        </pc:sldMkLst>
        <pc:spChg chg="mod">
          <ac:chgData name="Luca Ricci" userId="ee5f09d5-0832-4e68-94c9-d8bfd2ad04f0" providerId="ADAL" clId="{D501E5E2-574F-6542-B665-A334471D5578}" dt="2023-12-18T10:00:39.595" v="2301" actId="20577"/>
          <ac:spMkLst>
            <pc:docMk/>
            <pc:sldMk cId="2512870275" sldId="269"/>
            <ac:spMk id="2" creationId="{26AA7EFB-0509-54F1-939B-AF45B285E09A}"/>
          </ac:spMkLst>
        </pc:spChg>
        <pc:spChg chg="mod">
          <ac:chgData name="Luca Ricci" userId="ee5f09d5-0832-4e68-94c9-d8bfd2ad04f0" providerId="ADAL" clId="{D501E5E2-574F-6542-B665-A334471D5578}" dt="2023-12-18T09:13:57.992" v="743" actId="20577"/>
          <ac:spMkLst>
            <pc:docMk/>
            <pc:sldMk cId="2512870275" sldId="269"/>
            <ac:spMk id="3" creationId="{15A7AD8A-44DD-6FAA-9660-891A1F6435F4}"/>
          </ac:spMkLst>
        </pc:spChg>
      </pc:sldChg>
      <pc:sldChg chg="modSp new mod">
        <pc:chgData name="Luca Ricci" userId="ee5f09d5-0832-4e68-94c9-d8bfd2ad04f0" providerId="ADAL" clId="{D501E5E2-574F-6542-B665-A334471D5578}" dt="2023-12-18T14:17:57.158" v="8281" actId="20577"/>
        <pc:sldMkLst>
          <pc:docMk/>
          <pc:sldMk cId="3141277617" sldId="270"/>
        </pc:sldMkLst>
        <pc:spChg chg="mod">
          <ac:chgData name="Luca Ricci" userId="ee5f09d5-0832-4e68-94c9-d8bfd2ad04f0" providerId="ADAL" clId="{D501E5E2-574F-6542-B665-A334471D5578}" dt="2023-12-18T14:17:57.158" v="8281" actId="20577"/>
          <ac:spMkLst>
            <pc:docMk/>
            <pc:sldMk cId="3141277617" sldId="270"/>
            <ac:spMk id="2" creationId="{B54ACEA1-1D5E-E9C5-621F-EEA3DF9102BC}"/>
          </ac:spMkLst>
        </pc:spChg>
        <pc:spChg chg="mod">
          <ac:chgData name="Luca Ricci" userId="ee5f09d5-0832-4e68-94c9-d8bfd2ad04f0" providerId="ADAL" clId="{D501E5E2-574F-6542-B665-A334471D5578}" dt="2023-12-18T10:39:05.768" v="5178" actId="20577"/>
          <ac:spMkLst>
            <pc:docMk/>
            <pc:sldMk cId="3141277617" sldId="270"/>
            <ac:spMk id="3" creationId="{08FCFD86-C6C5-9AC0-BA0A-3F6A2B0D96DC}"/>
          </ac:spMkLst>
        </pc:spChg>
      </pc:sldChg>
      <pc:sldChg chg="addSp delSp modSp add mod">
        <pc:chgData name="Luca Ricci" userId="ee5f09d5-0832-4e68-94c9-d8bfd2ad04f0" providerId="ADAL" clId="{D501E5E2-574F-6542-B665-A334471D5578}" dt="2023-12-18T18:19:58.194" v="11143" actId="20577"/>
        <pc:sldMkLst>
          <pc:docMk/>
          <pc:sldMk cId="1589680712" sldId="271"/>
        </pc:sldMkLst>
        <pc:spChg chg="mod">
          <ac:chgData name="Luca Ricci" userId="ee5f09d5-0832-4e68-94c9-d8bfd2ad04f0" providerId="ADAL" clId="{D501E5E2-574F-6542-B665-A334471D5578}" dt="2023-12-18T18:11:34.019" v="10960" actId="20577"/>
          <ac:spMkLst>
            <pc:docMk/>
            <pc:sldMk cId="1589680712" sldId="271"/>
            <ac:spMk id="2" creationId="{96B142A3-3E18-4302-85FC-39EF0216B791}"/>
          </ac:spMkLst>
        </pc:spChg>
        <pc:spChg chg="add del mod">
          <ac:chgData name="Luca Ricci" userId="ee5f09d5-0832-4e68-94c9-d8bfd2ad04f0" providerId="ADAL" clId="{D501E5E2-574F-6542-B665-A334471D5578}" dt="2023-12-18T09:42:05.349" v="1393" actId="478"/>
          <ac:spMkLst>
            <pc:docMk/>
            <pc:sldMk cId="1589680712" sldId="271"/>
            <ac:spMk id="4" creationId="{B017C7BD-602F-0487-8E29-A7CAC0FDDC96}"/>
          </ac:spMkLst>
        </pc:spChg>
        <pc:spChg chg="add mod">
          <ac:chgData name="Luca Ricci" userId="ee5f09d5-0832-4e68-94c9-d8bfd2ad04f0" providerId="ADAL" clId="{D501E5E2-574F-6542-B665-A334471D5578}" dt="2023-12-18T09:44:19.554" v="1525" actId="207"/>
          <ac:spMkLst>
            <pc:docMk/>
            <pc:sldMk cId="1589680712" sldId="271"/>
            <ac:spMk id="5" creationId="{86FA4E78-D0A0-102A-FF33-4EE1591D4623}"/>
          </ac:spMkLst>
        </pc:spChg>
        <pc:spChg chg="add mod">
          <ac:chgData name="Luca Ricci" userId="ee5f09d5-0832-4e68-94c9-d8bfd2ad04f0" providerId="ADAL" clId="{D501E5E2-574F-6542-B665-A334471D5578}" dt="2023-12-18T09:44:33.630" v="1530" actId="1076"/>
          <ac:spMkLst>
            <pc:docMk/>
            <pc:sldMk cId="1589680712" sldId="271"/>
            <ac:spMk id="6" creationId="{D51D789D-905C-86F5-C060-CF961C84F2C9}"/>
          </ac:spMkLst>
        </pc:spChg>
        <pc:spChg chg="add mod">
          <ac:chgData name="Luca Ricci" userId="ee5f09d5-0832-4e68-94c9-d8bfd2ad04f0" providerId="ADAL" clId="{D501E5E2-574F-6542-B665-A334471D5578}" dt="2023-12-18T09:45:06.803" v="1559" actId="14100"/>
          <ac:spMkLst>
            <pc:docMk/>
            <pc:sldMk cId="1589680712" sldId="271"/>
            <ac:spMk id="7" creationId="{E215B337-F8D7-2B47-84CE-40B2CB2392D9}"/>
          </ac:spMkLst>
        </pc:spChg>
        <pc:spChg chg="add mod">
          <ac:chgData name="Luca Ricci" userId="ee5f09d5-0832-4e68-94c9-d8bfd2ad04f0" providerId="ADAL" clId="{D501E5E2-574F-6542-B665-A334471D5578}" dt="2023-12-18T09:45:21.098" v="1563" actId="14100"/>
          <ac:spMkLst>
            <pc:docMk/>
            <pc:sldMk cId="1589680712" sldId="271"/>
            <ac:spMk id="8" creationId="{2D08BCDB-0C6F-8470-2862-04E3519D9D7B}"/>
          </ac:spMkLst>
        </pc:spChg>
        <pc:spChg chg="add mod">
          <ac:chgData name="Luca Ricci" userId="ee5f09d5-0832-4e68-94c9-d8bfd2ad04f0" providerId="ADAL" clId="{D501E5E2-574F-6542-B665-A334471D5578}" dt="2023-12-18T09:45:35.990" v="1569" actId="14100"/>
          <ac:spMkLst>
            <pc:docMk/>
            <pc:sldMk cId="1589680712" sldId="271"/>
            <ac:spMk id="9" creationId="{849F5BBF-E0FE-92E0-9944-74364211B328}"/>
          </ac:spMkLst>
        </pc:spChg>
        <pc:spChg chg="mod">
          <ac:chgData name="Luca Ricci" userId="ee5f09d5-0832-4e68-94c9-d8bfd2ad04f0" providerId="ADAL" clId="{D501E5E2-574F-6542-B665-A334471D5578}" dt="2023-12-18T18:19:58.194" v="11143" actId="20577"/>
          <ac:spMkLst>
            <pc:docMk/>
            <pc:sldMk cId="1589680712" sldId="271"/>
            <ac:spMk id="10" creationId="{5A82A501-62D7-BA88-FCEA-42DF25F31526}"/>
          </ac:spMkLst>
        </pc:spChg>
        <pc:spChg chg="add mod">
          <ac:chgData name="Luca Ricci" userId="ee5f09d5-0832-4e68-94c9-d8bfd2ad04f0" providerId="ADAL" clId="{D501E5E2-574F-6542-B665-A334471D5578}" dt="2023-12-18T09:45:44.704" v="1574" actId="14100"/>
          <ac:spMkLst>
            <pc:docMk/>
            <pc:sldMk cId="1589680712" sldId="271"/>
            <ac:spMk id="11" creationId="{3FD9809B-1D8D-A93F-0C0D-19CE6B065D65}"/>
          </ac:spMkLst>
        </pc:spChg>
        <pc:spChg chg="add mod">
          <ac:chgData name="Luca Ricci" userId="ee5f09d5-0832-4e68-94c9-d8bfd2ad04f0" providerId="ADAL" clId="{D501E5E2-574F-6542-B665-A334471D5578}" dt="2023-12-18T09:45:52.125" v="1578" actId="14100"/>
          <ac:spMkLst>
            <pc:docMk/>
            <pc:sldMk cId="1589680712" sldId="271"/>
            <ac:spMk id="12" creationId="{AE118810-192C-E543-381D-FDFEFE17C593}"/>
          </ac:spMkLst>
        </pc:spChg>
        <pc:spChg chg="add mod">
          <ac:chgData name="Luca Ricci" userId="ee5f09d5-0832-4e68-94c9-d8bfd2ad04f0" providerId="ADAL" clId="{D501E5E2-574F-6542-B665-A334471D5578}" dt="2023-12-18T09:46:00.996" v="1582" actId="14100"/>
          <ac:spMkLst>
            <pc:docMk/>
            <pc:sldMk cId="1589680712" sldId="271"/>
            <ac:spMk id="13" creationId="{09F14A1B-3DBC-2776-D40E-28CBC3DE563E}"/>
          </ac:spMkLst>
        </pc:spChg>
      </pc:sldChg>
      <pc:sldChg chg="addSp modSp add del mod">
        <pc:chgData name="Luca Ricci" userId="ee5f09d5-0832-4e68-94c9-d8bfd2ad04f0" providerId="ADAL" clId="{D501E5E2-574F-6542-B665-A334471D5578}" dt="2023-12-18T09:40:59.533" v="1277" actId="2696"/>
        <pc:sldMkLst>
          <pc:docMk/>
          <pc:sldMk cId="2090004041" sldId="271"/>
        </pc:sldMkLst>
        <pc:spChg chg="mod">
          <ac:chgData name="Luca Ricci" userId="ee5f09d5-0832-4e68-94c9-d8bfd2ad04f0" providerId="ADAL" clId="{D501E5E2-574F-6542-B665-A334471D5578}" dt="2023-12-18T09:36:46.740" v="1252" actId="20577"/>
          <ac:spMkLst>
            <pc:docMk/>
            <pc:sldMk cId="2090004041" sldId="271"/>
            <ac:spMk id="2" creationId="{96B142A3-3E18-4302-85FC-39EF0216B791}"/>
          </ac:spMkLst>
        </pc:spChg>
        <pc:spChg chg="add mod">
          <ac:chgData name="Luca Ricci" userId="ee5f09d5-0832-4e68-94c9-d8bfd2ad04f0" providerId="ADAL" clId="{D501E5E2-574F-6542-B665-A334471D5578}" dt="2023-12-18T09:37:22.160" v="1266" actId="14100"/>
          <ac:spMkLst>
            <pc:docMk/>
            <pc:sldMk cId="2090004041" sldId="271"/>
            <ac:spMk id="3" creationId="{53FB8571-B157-A168-A02C-397DAC233CC7}"/>
          </ac:spMkLst>
        </pc:spChg>
        <pc:spChg chg="add mod">
          <ac:chgData name="Luca Ricci" userId="ee5f09d5-0832-4e68-94c9-d8bfd2ad04f0" providerId="ADAL" clId="{D501E5E2-574F-6542-B665-A334471D5578}" dt="2023-12-18T09:36:20.681" v="1214" actId="14100"/>
          <ac:spMkLst>
            <pc:docMk/>
            <pc:sldMk cId="2090004041" sldId="271"/>
            <ac:spMk id="4" creationId="{EC080165-4858-7AA3-F67C-9A20C3E79746}"/>
          </ac:spMkLst>
        </pc:spChg>
        <pc:spChg chg="add mod">
          <ac:chgData name="Luca Ricci" userId="ee5f09d5-0832-4e68-94c9-d8bfd2ad04f0" providerId="ADAL" clId="{D501E5E2-574F-6542-B665-A334471D5578}" dt="2023-12-18T09:36:30.600" v="1218" actId="14100"/>
          <ac:spMkLst>
            <pc:docMk/>
            <pc:sldMk cId="2090004041" sldId="271"/>
            <ac:spMk id="5" creationId="{277B2FCF-CE8A-DB88-DC6F-9F96DDAFA6C3}"/>
          </ac:spMkLst>
        </pc:spChg>
        <pc:spChg chg="add mod">
          <ac:chgData name="Luca Ricci" userId="ee5f09d5-0832-4e68-94c9-d8bfd2ad04f0" providerId="ADAL" clId="{D501E5E2-574F-6542-B665-A334471D5578}" dt="2023-12-18T09:37:34.928" v="1270" actId="14100"/>
          <ac:spMkLst>
            <pc:docMk/>
            <pc:sldMk cId="2090004041" sldId="271"/>
            <ac:spMk id="6" creationId="{23FFE452-3060-8046-E89E-C1B30F83B24D}"/>
          </ac:spMkLst>
        </pc:spChg>
      </pc:sldChg>
      <pc:sldChg chg="addSp delSp modSp add mod">
        <pc:chgData name="Luca Ricci" userId="ee5f09d5-0832-4e68-94c9-d8bfd2ad04f0" providerId="ADAL" clId="{D501E5E2-574F-6542-B665-A334471D5578}" dt="2023-12-18T18:11:59.359" v="10997" actId="20577"/>
        <pc:sldMkLst>
          <pc:docMk/>
          <pc:sldMk cId="2779813759" sldId="272"/>
        </pc:sldMkLst>
        <pc:spChg chg="mod">
          <ac:chgData name="Luca Ricci" userId="ee5f09d5-0832-4e68-94c9-d8bfd2ad04f0" providerId="ADAL" clId="{D501E5E2-574F-6542-B665-A334471D5578}" dt="2023-12-18T18:11:59.359" v="10997" actId="20577"/>
          <ac:spMkLst>
            <pc:docMk/>
            <pc:sldMk cId="2779813759" sldId="272"/>
            <ac:spMk id="2" creationId="{96B142A3-3E18-4302-85FC-39EF0216B791}"/>
          </ac:spMkLst>
        </pc:spChg>
        <pc:spChg chg="add mod">
          <ac:chgData name="Luca Ricci" userId="ee5f09d5-0832-4e68-94c9-d8bfd2ad04f0" providerId="ADAL" clId="{D501E5E2-574F-6542-B665-A334471D5578}" dt="2023-12-18T13:30:00.800" v="7501" actId="207"/>
          <ac:spMkLst>
            <pc:docMk/>
            <pc:sldMk cId="2779813759" sldId="272"/>
            <ac:spMk id="3" creationId="{3EF73BAF-42A6-A010-727C-541101AEEB35}"/>
          </ac:spMkLst>
        </pc:spChg>
        <pc:spChg chg="add mod">
          <ac:chgData name="Luca Ricci" userId="ee5f09d5-0832-4e68-94c9-d8bfd2ad04f0" providerId="ADAL" clId="{D501E5E2-574F-6542-B665-A334471D5578}" dt="2023-12-18T09:48:18.367" v="1690" actId="14100"/>
          <ac:spMkLst>
            <pc:docMk/>
            <pc:sldMk cId="2779813759" sldId="272"/>
            <ac:spMk id="4" creationId="{561FE2AF-2A52-3FD1-2F67-8A7460117B97}"/>
          </ac:spMkLst>
        </pc:spChg>
        <pc:spChg chg="del">
          <ac:chgData name="Luca Ricci" userId="ee5f09d5-0832-4e68-94c9-d8bfd2ad04f0" providerId="ADAL" clId="{D501E5E2-574F-6542-B665-A334471D5578}" dt="2023-12-18T13:34:44.360" v="7519" actId="478"/>
          <ac:spMkLst>
            <pc:docMk/>
            <pc:sldMk cId="2779813759" sldId="272"/>
            <ac:spMk id="5" creationId="{86FA4E78-D0A0-102A-FF33-4EE1591D4623}"/>
          </ac:spMkLst>
        </pc:spChg>
        <pc:spChg chg="del">
          <ac:chgData name="Luca Ricci" userId="ee5f09d5-0832-4e68-94c9-d8bfd2ad04f0" providerId="ADAL" clId="{D501E5E2-574F-6542-B665-A334471D5578}" dt="2023-12-18T13:34:46.087" v="7520" actId="478"/>
          <ac:spMkLst>
            <pc:docMk/>
            <pc:sldMk cId="2779813759" sldId="272"/>
            <ac:spMk id="6" creationId="{D51D789D-905C-86F5-C060-CF961C84F2C9}"/>
          </ac:spMkLst>
        </pc:spChg>
        <pc:spChg chg="del">
          <ac:chgData name="Luca Ricci" userId="ee5f09d5-0832-4e68-94c9-d8bfd2ad04f0" providerId="ADAL" clId="{D501E5E2-574F-6542-B665-A334471D5578}" dt="2023-12-18T13:34:50.866" v="7522" actId="478"/>
          <ac:spMkLst>
            <pc:docMk/>
            <pc:sldMk cId="2779813759" sldId="272"/>
            <ac:spMk id="7" creationId="{E215B337-F8D7-2B47-84CE-40B2CB2392D9}"/>
          </ac:spMkLst>
        </pc:spChg>
        <pc:spChg chg="del">
          <ac:chgData name="Luca Ricci" userId="ee5f09d5-0832-4e68-94c9-d8bfd2ad04f0" providerId="ADAL" clId="{D501E5E2-574F-6542-B665-A334471D5578}" dt="2023-12-18T13:34:48.004" v="7521" actId="478"/>
          <ac:spMkLst>
            <pc:docMk/>
            <pc:sldMk cId="2779813759" sldId="272"/>
            <ac:spMk id="8" creationId="{2D08BCDB-0C6F-8470-2862-04E3519D9D7B}"/>
          </ac:spMkLst>
        </pc:spChg>
        <pc:spChg chg="del">
          <ac:chgData name="Luca Ricci" userId="ee5f09d5-0832-4e68-94c9-d8bfd2ad04f0" providerId="ADAL" clId="{D501E5E2-574F-6542-B665-A334471D5578}" dt="2023-12-18T13:34:55.237" v="7524" actId="478"/>
          <ac:spMkLst>
            <pc:docMk/>
            <pc:sldMk cId="2779813759" sldId="272"/>
            <ac:spMk id="9" creationId="{849F5BBF-E0FE-92E0-9944-74364211B328}"/>
          </ac:spMkLst>
        </pc:spChg>
        <pc:spChg chg="mod">
          <ac:chgData name="Luca Ricci" userId="ee5f09d5-0832-4e68-94c9-d8bfd2ad04f0" providerId="ADAL" clId="{D501E5E2-574F-6542-B665-A334471D5578}" dt="2023-12-18T16:44:46.318" v="10055" actId="20577"/>
          <ac:spMkLst>
            <pc:docMk/>
            <pc:sldMk cId="2779813759" sldId="272"/>
            <ac:spMk id="10" creationId="{5A82A501-62D7-BA88-FCEA-42DF25F31526}"/>
          </ac:spMkLst>
        </pc:spChg>
        <pc:spChg chg="del">
          <ac:chgData name="Luca Ricci" userId="ee5f09d5-0832-4e68-94c9-d8bfd2ad04f0" providerId="ADAL" clId="{D501E5E2-574F-6542-B665-A334471D5578}" dt="2023-12-18T13:34:56.781" v="7525" actId="478"/>
          <ac:spMkLst>
            <pc:docMk/>
            <pc:sldMk cId="2779813759" sldId="272"/>
            <ac:spMk id="11" creationId="{3FD9809B-1D8D-A93F-0C0D-19CE6B065D65}"/>
          </ac:spMkLst>
        </pc:spChg>
        <pc:spChg chg="del">
          <ac:chgData name="Luca Ricci" userId="ee5f09d5-0832-4e68-94c9-d8bfd2ad04f0" providerId="ADAL" clId="{D501E5E2-574F-6542-B665-A334471D5578}" dt="2023-12-18T13:34:59.191" v="7526" actId="478"/>
          <ac:spMkLst>
            <pc:docMk/>
            <pc:sldMk cId="2779813759" sldId="272"/>
            <ac:spMk id="12" creationId="{AE118810-192C-E543-381D-FDFEFE17C593}"/>
          </ac:spMkLst>
        </pc:spChg>
        <pc:spChg chg="del">
          <ac:chgData name="Luca Ricci" userId="ee5f09d5-0832-4e68-94c9-d8bfd2ad04f0" providerId="ADAL" clId="{D501E5E2-574F-6542-B665-A334471D5578}" dt="2023-12-18T13:34:53.199" v="7523" actId="478"/>
          <ac:spMkLst>
            <pc:docMk/>
            <pc:sldMk cId="2779813759" sldId="272"/>
            <ac:spMk id="13" creationId="{09F14A1B-3DBC-2776-D40E-28CBC3DE563E}"/>
          </ac:spMkLst>
        </pc:spChg>
        <pc:spChg chg="add mod">
          <ac:chgData name="Luca Ricci" userId="ee5f09d5-0832-4e68-94c9-d8bfd2ad04f0" providerId="ADAL" clId="{D501E5E2-574F-6542-B665-A334471D5578}" dt="2023-12-18T09:48:30.460" v="1697" actId="14100"/>
          <ac:spMkLst>
            <pc:docMk/>
            <pc:sldMk cId="2779813759" sldId="272"/>
            <ac:spMk id="14" creationId="{63BAE6FF-B12C-2A4D-2B25-8B4C96E7A85D}"/>
          </ac:spMkLst>
        </pc:spChg>
        <pc:spChg chg="add mod">
          <ac:chgData name="Luca Ricci" userId="ee5f09d5-0832-4e68-94c9-d8bfd2ad04f0" providerId="ADAL" clId="{D501E5E2-574F-6542-B665-A334471D5578}" dt="2023-12-18T13:30:00.800" v="7501" actId="207"/>
          <ac:spMkLst>
            <pc:docMk/>
            <pc:sldMk cId="2779813759" sldId="272"/>
            <ac:spMk id="15" creationId="{FFFB0D11-6842-7935-6A96-AFF1AB638A96}"/>
          </ac:spMkLst>
        </pc:spChg>
        <pc:spChg chg="add mod">
          <ac:chgData name="Luca Ricci" userId="ee5f09d5-0832-4e68-94c9-d8bfd2ad04f0" providerId="ADAL" clId="{D501E5E2-574F-6542-B665-A334471D5578}" dt="2023-12-18T13:30:00.800" v="7501" actId="207"/>
          <ac:spMkLst>
            <pc:docMk/>
            <pc:sldMk cId="2779813759" sldId="272"/>
            <ac:spMk id="17" creationId="{F496740F-0E92-4DAD-8200-0B92F7D4CD75}"/>
          </ac:spMkLst>
        </pc:spChg>
      </pc:sldChg>
      <pc:sldChg chg="delSp modSp add mod">
        <pc:chgData name="Luca Ricci" userId="ee5f09d5-0832-4e68-94c9-d8bfd2ad04f0" providerId="ADAL" clId="{D501E5E2-574F-6542-B665-A334471D5578}" dt="2023-12-18T16:39:40.060" v="9750" actId="478"/>
        <pc:sldMkLst>
          <pc:docMk/>
          <pc:sldMk cId="1135736597" sldId="273"/>
        </pc:sldMkLst>
        <pc:spChg chg="mod">
          <ac:chgData name="Luca Ricci" userId="ee5f09d5-0832-4e68-94c9-d8bfd2ad04f0" providerId="ADAL" clId="{D501E5E2-574F-6542-B665-A334471D5578}" dt="2023-12-18T15:21:52.006" v="8780" actId="20577"/>
          <ac:spMkLst>
            <pc:docMk/>
            <pc:sldMk cId="1135736597" sldId="273"/>
            <ac:spMk id="2" creationId="{96B142A3-3E18-4302-85FC-39EF0216B791}"/>
          </ac:spMkLst>
        </pc:spChg>
        <pc:spChg chg="del">
          <ac:chgData name="Luca Ricci" userId="ee5f09d5-0832-4e68-94c9-d8bfd2ad04f0" providerId="ADAL" clId="{D501E5E2-574F-6542-B665-A334471D5578}" dt="2023-12-18T13:30:57.690" v="7512" actId="478"/>
          <ac:spMkLst>
            <pc:docMk/>
            <pc:sldMk cId="1135736597" sldId="273"/>
            <ac:spMk id="3" creationId="{3EF73BAF-42A6-A010-727C-541101AEEB35}"/>
          </ac:spMkLst>
        </pc:spChg>
        <pc:spChg chg="del">
          <ac:chgData name="Luca Ricci" userId="ee5f09d5-0832-4e68-94c9-d8bfd2ad04f0" providerId="ADAL" clId="{D501E5E2-574F-6542-B665-A334471D5578}" dt="2023-12-18T13:30:50.709" v="7509" actId="478"/>
          <ac:spMkLst>
            <pc:docMk/>
            <pc:sldMk cId="1135736597" sldId="273"/>
            <ac:spMk id="4" creationId="{561FE2AF-2A52-3FD1-2F67-8A7460117B97}"/>
          </ac:spMkLst>
        </pc:spChg>
        <pc:spChg chg="del">
          <ac:chgData name="Luca Ricci" userId="ee5f09d5-0832-4e68-94c9-d8bfd2ad04f0" providerId="ADAL" clId="{D501E5E2-574F-6542-B665-A334471D5578}" dt="2023-12-18T13:31:00.336" v="7514" actId="478"/>
          <ac:spMkLst>
            <pc:docMk/>
            <pc:sldMk cId="1135736597" sldId="273"/>
            <ac:spMk id="5" creationId="{86FA4E78-D0A0-102A-FF33-4EE1591D4623}"/>
          </ac:spMkLst>
        </pc:spChg>
        <pc:spChg chg="del">
          <ac:chgData name="Luca Ricci" userId="ee5f09d5-0832-4e68-94c9-d8bfd2ad04f0" providerId="ADAL" clId="{D501E5E2-574F-6542-B665-A334471D5578}" dt="2023-12-18T13:31:01.475" v="7515" actId="478"/>
          <ac:spMkLst>
            <pc:docMk/>
            <pc:sldMk cId="1135736597" sldId="273"/>
            <ac:spMk id="6" creationId="{D51D789D-905C-86F5-C060-CF961C84F2C9}"/>
          </ac:spMkLst>
        </pc:spChg>
        <pc:spChg chg="del">
          <ac:chgData name="Luca Ricci" userId="ee5f09d5-0832-4e68-94c9-d8bfd2ad04f0" providerId="ADAL" clId="{D501E5E2-574F-6542-B665-A334471D5578}" dt="2023-12-18T13:30:53.685" v="7510" actId="478"/>
          <ac:spMkLst>
            <pc:docMk/>
            <pc:sldMk cId="1135736597" sldId="273"/>
            <ac:spMk id="7" creationId="{E215B337-F8D7-2B47-84CE-40B2CB2392D9}"/>
          </ac:spMkLst>
        </pc:spChg>
        <pc:spChg chg="del">
          <ac:chgData name="Luca Ricci" userId="ee5f09d5-0832-4e68-94c9-d8bfd2ad04f0" providerId="ADAL" clId="{D501E5E2-574F-6542-B665-A334471D5578}" dt="2023-12-18T13:30:55.182" v="7511" actId="478"/>
          <ac:spMkLst>
            <pc:docMk/>
            <pc:sldMk cId="1135736597" sldId="273"/>
            <ac:spMk id="8" creationId="{2D08BCDB-0C6F-8470-2862-04E3519D9D7B}"/>
          </ac:spMkLst>
        </pc:spChg>
        <pc:spChg chg="del">
          <ac:chgData name="Luca Ricci" userId="ee5f09d5-0832-4e68-94c9-d8bfd2ad04f0" providerId="ADAL" clId="{D501E5E2-574F-6542-B665-A334471D5578}" dt="2023-12-18T13:31:03.878" v="7516" actId="478"/>
          <ac:spMkLst>
            <pc:docMk/>
            <pc:sldMk cId="1135736597" sldId="273"/>
            <ac:spMk id="9" creationId="{849F5BBF-E0FE-92E0-9944-74364211B328}"/>
          </ac:spMkLst>
        </pc:spChg>
        <pc:spChg chg="mod">
          <ac:chgData name="Luca Ricci" userId="ee5f09d5-0832-4e68-94c9-d8bfd2ad04f0" providerId="ADAL" clId="{D501E5E2-574F-6542-B665-A334471D5578}" dt="2023-12-18T15:40:03.996" v="9161" actId="20577"/>
          <ac:spMkLst>
            <pc:docMk/>
            <pc:sldMk cId="1135736597" sldId="273"/>
            <ac:spMk id="10" creationId="{5A82A501-62D7-BA88-FCEA-42DF25F31526}"/>
          </ac:spMkLst>
        </pc:spChg>
        <pc:spChg chg="del">
          <ac:chgData name="Luca Ricci" userId="ee5f09d5-0832-4e68-94c9-d8bfd2ad04f0" providerId="ADAL" clId="{D501E5E2-574F-6542-B665-A334471D5578}" dt="2023-12-18T13:31:06.247" v="7517" actId="478"/>
          <ac:spMkLst>
            <pc:docMk/>
            <pc:sldMk cId="1135736597" sldId="273"/>
            <ac:spMk id="11" creationId="{3FD9809B-1D8D-A93F-0C0D-19CE6B065D65}"/>
          </ac:spMkLst>
        </pc:spChg>
        <pc:spChg chg="del">
          <ac:chgData name="Luca Ricci" userId="ee5f09d5-0832-4e68-94c9-d8bfd2ad04f0" providerId="ADAL" clId="{D501E5E2-574F-6542-B665-A334471D5578}" dt="2023-12-18T13:31:07.472" v="7518" actId="478"/>
          <ac:spMkLst>
            <pc:docMk/>
            <pc:sldMk cId="1135736597" sldId="273"/>
            <ac:spMk id="12" creationId="{AE118810-192C-E543-381D-FDFEFE17C593}"/>
          </ac:spMkLst>
        </pc:spChg>
        <pc:spChg chg="del">
          <ac:chgData name="Luca Ricci" userId="ee5f09d5-0832-4e68-94c9-d8bfd2ad04f0" providerId="ADAL" clId="{D501E5E2-574F-6542-B665-A334471D5578}" dt="2023-12-18T16:39:40.060" v="9750" actId="478"/>
          <ac:spMkLst>
            <pc:docMk/>
            <pc:sldMk cId="1135736597" sldId="273"/>
            <ac:spMk id="13" creationId="{09F14A1B-3DBC-2776-D40E-28CBC3DE563E}"/>
          </ac:spMkLst>
        </pc:spChg>
        <pc:spChg chg="del">
          <ac:chgData name="Luca Ricci" userId="ee5f09d5-0832-4e68-94c9-d8bfd2ad04f0" providerId="ADAL" clId="{D501E5E2-574F-6542-B665-A334471D5578}" dt="2023-12-18T13:30:58.571" v="7513" actId="478"/>
          <ac:spMkLst>
            <pc:docMk/>
            <pc:sldMk cId="1135736597" sldId="273"/>
            <ac:spMk id="14" creationId="{63BAE6FF-B12C-2A4D-2B25-8B4C96E7A85D}"/>
          </ac:spMkLst>
        </pc:spChg>
      </pc:sldChg>
      <pc:sldChg chg="addSp delSp modSp new del mod modClrScheme chgLayout">
        <pc:chgData name="Luca Ricci" userId="ee5f09d5-0832-4e68-94c9-d8bfd2ad04f0" providerId="ADAL" clId="{D501E5E2-574F-6542-B665-A334471D5578}" dt="2023-12-18T09:57:04.722" v="2238" actId="2696"/>
        <pc:sldMkLst>
          <pc:docMk/>
          <pc:sldMk cId="3563392032" sldId="273"/>
        </pc:sldMkLst>
        <pc:spChg chg="del mod ord">
          <ac:chgData name="Luca Ricci" userId="ee5f09d5-0832-4e68-94c9-d8bfd2ad04f0" providerId="ADAL" clId="{D501E5E2-574F-6542-B665-A334471D5578}" dt="2023-12-18T09:56:07.427" v="2169" actId="700"/>
          <ac:spMkLst>
            <pc:docMk/>
            <pc:sldMk cId="3563392032" sldId="273"/>
            <ac:spMk id="2" creationId="{EBFC613F-9523-E865-3D77-F65A65A85FA7}"/>
          </ac:spMkLst>
        </pc:spChg>
        <pc:spChg chg="del">
          <ac:chgData name="Luca Ricci" userId="ee5f09d5-0832-4e68-94c9-d8bfd2ad04f0" providerId="ADAL" clId="{D501E5E2-574F-6542-B665-A334471D5578}" dt="2023-12-18T09:56:07.427" v="2169" actId="700"/>
          <ac:spMkLst>
            <pc:docMk/>
            <pc:sldMk cId="3563392032" sldId="273"/>
            <ac:spMk id="3" creationId="{16D72495-105C-9B34-CD30-BE071D6897A5}"/>
          </ac:spMkLst>
        </pc:spChg>
        <pc:spChg chg="del mod ord">
          <ac:chgData name="Luca Ricci" userId="ee5f09d5-0832-4e68-94c9-d8bfd2ad04f0" providerId="ADAL" clId="{D501E5E2-574F-6542-B665-A334471D5578}" dt="2023-12-18T09:56:07.427" v="2169" actId="700"/>
          <ac:spMkLst>
            <pc:docMk/>
            <pc:sldMk cId="3563392032" sldId="273"/>
            <ac:spMk id="4" creationId="{4DC53D6C-C3A5-3036-672D-996ADE10A242}"/>
          </ac:spMkLst>
        </pc:spChg>
        <pc:spChg chg="mod ord">
          <ac:chgData name="Luca Ricci" userId="ee5f09d5-0832-4e68-94c9-d8bfd2ad04f0" providerId="ADAL" clId="{D501E5E2-574F-6542-B665-A334471D5578}" dt="2023-12-18T09:56:07.427" v="2169" actId="700"/>
          <ac:spMkLst>
            <pc:docMk/>
            <pc:sldMk cId="3563392032" sldId="273"/>
            <ac:spMk id="5" creationId="{15B1AD4A-35AB-C1A2-6AE4-32425FF28BFE}"/>
          </ac:spMkLst>
        </pc:spChg>
        <pc:spChg chg="mod ord">
          <ac:chgData name="Luca Ricci" userId="ee5f09d5-0832-4e68-94c9-d8bfd2ad04f0" providerId="ADAL" clId="{D501E5E2-574F-6542-B665-A334471D5578}" dt="2023-12-18T09:56:07.427" v="2169" actId="700"/>
          <ac:spMkLst>
            <pc:docMk/>
            <pc:sldMk cId="3563392032" sldId="273"/>
            <ac:spMk id="6" creationId="{44DBE4D8-2277-1832-ECEE-1C4BC20FF5A4}"/>
          </ac:spMkLst>
        </pc:spChg>
        <pc:spChg chg="add mod ord">
          <ac:chgData name="Luca Ricci" userId="ee5f09d5-0832-4e68-94c9-d8bfd2ad04f0" providerId="ADAL" clId="{D501E5E2-574F-6542-B665-A334471D5578}" dt="2023-12-18T09:56:17.228" v="2187" actId="20577"/>
          <ac:spMkLst>
            <pc:docMk/>
            <pc:sldMk cId="3563392032" sldId="273"/>
            <ac:spMk id="7" creationId="{93C99CEA-9DE5-6FAD-2200-5D96CF3318D6}"/>
          </ac:spMkLst>
        </pc:spChg>
        <pc:spChg chg="add mod ord">
          <ac:chgData name="Luca Ricci" userId="ee5f09d5-0832-4e68-94c9-d8bfd2ad04f0" providerId="ADAL" clId="{D501E5E2-574F-6542-B665-A334471D5578}" dt="2023-12-18T09:56:43.702" v="2237" actId="20577"/>
          <ac:spMkLst>
            <pc:docMk/>
            <pc:sldMk cId="3563392032" sldId="273"/>
            <ac:spMk id="8" creationId="{4063DF65-C751-6223-0320-0ABC342D6873}"/>
          </ac:spMkLst>
        </pc:spChg>
      </pc:sldChg>
      <pc:sldChg chg="modSp new mod">
        <pc:chgData name="Luca Ricci" userId="ee5f09d5-0832-4e68-94c9-d8bfd2ad04f0" providerId="ADAL" clId="{D501E5E2-574F-6542-B665-A334471D5578}" dt="2023-12-18T18:17:55.569" v="11055" actId="313"/>
        <pc:sldMkLst>
          <pc:docMk/>
          <pc:sldMk cId="2968188460" sldId="274"/>
        </pc:sldMkLst>
        <pc:spChg chg="mod">
          <ac:chgData name="Luca Ricci" userId="ee5f09d5-0832-4e68-94c9-d8bfd2ad04f0" providerId="ADAL" clId="{D501E5E2-574F-6542-B665-A334471D5578}" dt="2023-12-18T18:17:55.569" v="11055" actId="313"/>
          <ac:spMkLst>
            <pc:docMk/>
            <pc:sldMk cId="2968188460" sldId="274"/>
            <ac:spMk id="2" creationId="{B545D168-F5D6-D66F-354B-7282097BB224}"/>
          </ac:spMkLst>
        </pc:spChg>
        <pc:spChg chg="mod">
          <ac:chgData name="Luca Ricci" userId="ee5f09d5-0832-4e68-94c9-d8bfd2ad04f0" providerId="ADAL" clId="{D501E5E2-574F-6542-B665-A334471D5578}" dt="2023-12-18T17:02:56.655" v="10333" actId="20577"/>
          <ac:spMkLst>
            <pc:docMk/>
            <pc:sldMk cId="2968188460" sldId="274"/>
            <ac:spMk id="3" creationId="{ACD80753-20DC-28DE-860C-EBBFE720783E}"/>
          </ac:spMkLst>
        </pc:spChg>
      </pc:sldChg>
      <pc:sldChg chg="modSp new del mod ord modShow">
        <pc:chgData name="Luca Ricci" userId="ee5f09d5-0832-4e68-94c9-d8bfd2ad04f0" providerId="ADAL" clId="{D501E5E2-574F-6542-B665-A334471D5578}" dt="2023-12-18T12:38:02.965" v="7148" actId="2696"/>
        <pc:sldMkLst>
          <pc:docMk/>
          <pc:sldMk cId="2821408771" sldId="275"/>
        </pc:sldMkLst>
        <pc:spChg chg="mod">
          <ac:chgData name="Luca Ricci" userId="ee5f09d5-0832-4e68-94c9-d8bfd2ad04f0" providerId="ADAL" clId="{D501E5E2-574F-6542-B665-A334471D5578}" dt="2023-12-18T10:36:59.879" v="5076" actId="20577"/>
          <ac:spMkLst>
            <pc:docMk/>
            <pc:sldMk cId="2821408771" sldId="275"/>
            <ac:spMk id="2" creationId="{D92DA106-FA14-6ECC-0FCA-6694E6A156AB}"/>
          </ac:spMkLst>
        </pc:spChg>
        <pc:spChg chg="mod">
          <ac:chgData name="Luca Ricci" userId="ee5f09d5-0832-4e68-94c9-d8bfd2ad04f0" providerId="ADAL" clId="{D501E5E2-574F-6542-B665-A334471D5578}" dt="2023-12-18T10:35:05.177" v="4867" actId="20577"/>
          <ac:spMkLst>
            <pc:docMk/>
            <pc:sldMk cId="2821408771" sldId="275"/>
            <ac:spMk id="3" creationId="{E4945D54-5D09-0051-78B4-FA7583C05688}"/>
          </ac:spMkLst>
        </pc:spChg>
      </pc:sldChg>
      <pc:sldChg chg="addSp delSp modSp new mod modClrScheme chgLayout">
        <pc:chgData name="Luca Ricci" userId="ee5f09d5-0832-4e68-94c9-d8bfd2ad04f0" providerId="ADAL" clId="{D501E5E2-574F-6542-B665-A334471D5578}" dt="2023-12-18T18:15:49.461" v="11038" actId="1076"/>
        <pc:sldMkLst>
          <pc:docMk/>
          <pc:sldMk cId="2990945037" sldId="276"/>
        </pc:sldMkLst>
        <pc:spChg chg="mod ord">
          <ac:chgData name="Luca Ricci" userId="ee5f09d5-0832-4e68-94c9-d8bfd2ad04f0" providerId="ADAL" clId="{D501E5E2-574F-6542-B665-A334471D5578}" dt="2023-12-18T18:07:58.311" v="10941" actId="20577"/>
          <ac:spMkLst>
            <pc:docMk/>
            <pc:sldMk cId="2990945037" sldId="276"/>
            <ac:spMk id="2" creationId="{EE1181EE-E83B-E2B4-A8A2-9BD79BA62577}"/>
          </ac:spMkLst>
        </pc:spChg>
        <pc:spChg chg="mod ord">
          <ac:chgData name="Luca Ricci" userId="ee5f09d5-0832-4e68-94c9-d8bfd2ad04f0" providerId="ADAL" clId="{D501E5E2-574F-6542-B665-A334471D5578}" dt="2023-12-18T17:45:18.482" v="10533" actId="20577"/>
          <ac:spMkLst>
            <pc:docMk/>
            <pc:sldMk cId="2990945037" sldId="276"/>
            <ac:spMk id="3" creationId="{07C4FEEC-C7A9-340B-8522-6845D3F4141D}"/>
          </ac:spMkLst>
        </pc:spChg>
        <pc:spChg chg="mod ord">
          <ac:chgData name="Luca Ricci" userId="ee5f09d5-0832-4e68-94c9-d8bfd2ad04f0" providerId="ADAL" clId="{D501E5E2-574F-6542-B665-A334471D5578}" dt="2023-12-18T13:58:12.718" v="7688" actId="700"/>
          <ac:spMkLst>
            <pc:docMk/>
            <pc:sldMk cId="2990945037" sldId="276"/>
            <ac:spMk id="4" creationId="{E5A0E81E-6D21-B61E-5631-2BEC2A222BBF}"/>
          </ac:spMkLst>
        </pc:spChg>
        <pc:spChg chg="mod ord">
          <ac:chgData name="Luca Ricci" userId="ee5f09d5-0832-4e68-94c9-d8bfd2ad04f0" providerId="ADAL" clId="{D501E5E2-574F-6542-B665-A334471D5578}" dt="2023-12-18T13:58:12.718" v="7688" actId="700"/>
          <ac:spMkLst>
            <pc:docMk/>
            <pc:sldMk cId="2990945037" sldId="276"/>
            <ac:spMk id="5" creationId="{135546F5-012E-B2E0-37D5-9122D8A67012}"/>
          </ac:spMkLst>
        </pc:spChg>
        <pc:spChg chg="add del mod ord">
          <ac:chgData name="Luca Ricci" userId="ee5f09d5-0832-4e68-94c9-d8bfd2ad04f0" providerId="ADAL" clId="{D501E5E2-574F-6542-B665-A334471D5578}" dt="2023-12-18T18:05:57.120" v="10931" actId="931"/>
          <ac:spMkLst>
            <pc:docMk/>
            <pc:sldMk cId="2990945037" sldId="276"/>
            <ac:spMk id="6" creationId="{06F0CF48-24D4-ED7F-05FF-27F302068672}"/>
          </ac:spMkLst>
        </pc:spChg>
        <pc:spChg chg="add mod">
          <ac:chgData name="Luca Ricci" userId="ee5f09d5-0832-4e68-94c9-d8bfd2ad04f0" providerId="ADAL" clId="{D501E5E2-574F-6542-B665-A334471D5578}" dt="2023-12-18T18:15:49.461" v="11038" actId="1076"/>
          <ac:spMkLst>
            <pc:docMk/>
            <pc:sldMk cId="2990945037" sldId="276"/>
            <ac:spMk id="9" creationId="{2B908192-E5D1-45BD-65EF-316598CA9512}"/>
          </ac:spMkLst>
        </pc:spChg>
        <pc:picChg chg="add mod">
          <ac:chgData name="Luca Ricci" userId="ee5f09d5-0832-4e68-94c9-d8bfd2ad04f0" providerId="ADAL" clId="{D501E5E2-574F-6542-B665-A334471D5578}" dt="2023-12-18T18:06:36.956" v="10938" actId="1076"/>
          <ac:picMkLst>
            <pc:docMk/>
            <pc:sldMk cId="2990945037" sldId="276"/>
            <ac:picMk id="8" creationId="{8B5AF5C9-B484-5967-A46F-F80097891166}"/>
          </ac:picMkLst>
        </pc:picChg>
      </pc:sldChg>
      <pc:sldChg chg="addSp delSp modSp new del mod modClrScheme chgLayout">
        <pc:chgData name="Luca Ricci" userId="ee5f09d5-0832-4e68-94c9-d8bfd2ad04f0" providerId="ADAL" clId="{D501E5E2-574F-6542-B665-A334471D5578}" dt="2023-12-18T16:59:22.101" v="10276" actId="2696"/>
        <pc:sldMkLst>
          <pc:docMk/>
          <pc:sldMk cId="1441321396" sldId="277"/>
        </pc:sldMkLst>
        <pc:spChg chg="del mod ord">
          <ac:chgData name="Luca Ricci" userId="ee5f09d5-0832-4e68-94c9-d8bfd2ad04f0" providerId="ADAL" clId="{D501E5E2-574F-6542-B665-A334471D5578}" dt="2023-12-18T13:36:38.454" v="7532" actId="700"/>
          <ac:spMkLst>
            <pc:docMk/>
            <pc:sldMk cId="1441321396" sldId="277"/>
            <ac:spMk id="2" creationId="{10D35C28-7BEA-C8C3-2F6A-2AB96A4F5636}"/>
          </ac:spMkLst>
        </pc:spChg>
        <pc:spChg chg="del">
          <ac:chgData name="Luca Ricci" userId="ee5f09d5-0832-4e68-94c9-d8bfd2ad04f0" providerId="ADAL" clId="{D501E5E2-574F-6542-B665-A334471D5578}" dt="2023-12-18T13:36:38.454" v="7532" actId="700"/>
          <ac:spMkLst>
            <pc:docMk/>
            <pc:sldMk cId="1441321396" sldId="277"/>
            <ac:spMk id="3" creationId="{8D55E12B-0175-BE86-A6A8-FFA16CD88C4E}"/>
          </ac:spMkLst>
        </pc:spChg>
        <pc:spChg chg="del mod ord">
          <ac:chgData name="Luca Ricci" userId="ee5f09d5-0832-4e68-94c9-d8bfd2ad04f0" providerId="ADAL" clId="{D501E5E2-574F-6542-B665-A334471D5578}" dt="2023-12-18T13:36:38.454" v="7532" actId="700"/>
          <ac:spMkLst>
            <pc:docMk/>
            <pc:sldMk cId="1441321396" sldId="277"/>
            <ac:spMk id="4" creationId="{16CF110B-59A0-3EEC-CC69-465ED0B15B2E}"/>
          </ac:spMkLst>
        </pc:spChg>
        <pc:spChg chg="mod ord">
          <ac:chgData name="Luca Ricci" userId="ee5f09d5-0832-4e68-94c9-d8bfd2ad04f0" providerId="ADAL" clId="{D501E5E2-574F-6542-B665-A334471D5578}" dt="2023-12-18T13:36:38.454" v="7532" actId="700"/>
          <ac:spMkLst>
            <pc:docMk/>
            <pc:sldMk cId="1441321396" sldId="277"/>
            <ac:spMk id="5" creationId="{BF713C4A-3C6F-723F-2F39-B89A8E786379}"/>
          </ac:spMkLst>
        </pc:spChg>
        <pc:spChg chg="mod ord">
          <ac:chgData name="Luca Ricci" userId="ee5f09d5-0832-4e68-94c9-d8bfd2ad04f0" providerId="ADAL" clId="{D501E5E2-574F-6542-B665-A334471D5578}" dt="2023-12-18T13:36:38.454" v="7532" actId="700"/>
          <ac:spMkLst>
            <pc:docMk/>
            <pc:sldMk cId="1441321396" sldId="277"/>
            <ac:spMk id="6" creationId="{05284F73-5454-3A31-9518-8B0D121C3D2B}"/>
          </ac:spMkLst>
        </pc:spChg>
        <pc:spChg chg="add mod ord">
          <ac:chgData name="Luca Ricci" userId="ee5f09d5-0832-4e68-94c9-d8bfd2ad04f0" providerId="ADAL" clId="{D501E5E2-574F-6542-B665-A334471D5578}" dt="2023-12-18T16:32:49.707" v="9515" actId="20577"/>
          <ac:spMkLst>
            <pc:docMk/>
            <pc:sldMk cId="1441321396" sldId="277"/>
            <ac:spMk id="7" creationId="{45E90837-93DC-263A-637E-73E06C23CFAC}"/>
          </ac:spMkLst>
        </pc:spChg>
        <pc:spChg chg="add mod ord">
          <ac:chgData name="Luca Ricci" userId="ee5f09d5-0832-4e68-94c9-d8bfd2ad04f0" providerId="ADAL" clId="{D501E5E2-574F-6542-B665-A334471D5578}" dt="2023-12-18T15:41:03.045" v="9168" actId="20577"/>
          <ac:spMkLst>
            <pc:docMk/>
            <pc:sldMk cId="1441321396" sldId="277"/>
            <ac:spMk id="8" creationId="{1FDF8926-1A71-B433-141E-DFE40C5AA871}"/>
          </ac:spMkLst>
        </pc:spChg>
      </pc:sldChg>
      <pc:sldChg chg="addSp delSp modSp new mod modClrScheme chgLayout">
        <pc:chgData name="Luca Ricci" userId="ee5f09d5-0832-4e68-94c9-d8bfd2ad04f0" providerId="ADAL" clId="{D501E5E2-574F-6542-B665-A334471D5578}" dt="2023-12-18T16:52:09.850" v="10235" actId="20577"/>
        <pc:sldMkLst>
          <pc:docMk/>
          <pc:sldMk cId="4189800304" sldId="278"/>
        </pc:sldMkLst>
        <pc:spChg chg="del">
          <ac:chgData name="Luca Ricci" userId="ee5f09d5-0832-4e68-94c9-d8bfd2ad04f0" providerId="ADAL" clId="{D501E5E2-574F-6542-B665-A334471D5578}" dt="2023-12-18T13:44:35.520" v="7555" actId="700"/>
          <ac:spMkLst>
            <pc:docMk/>
            <pc:sldMk cId="4189800304" sldId="278"/>
            <ac:spMk id="2" creationId="{03CBAEEE-1DCC-183C-92D4-5C8230EA65EE}"/>
          </ac:spMkLst>
        </pc:spChg>
        <pc:spChg chg="del mod ord">
          <ac:chgData name="Luca Ricci" userId="ee5f09d5-0832-4e68-94c9-d8bfd2ad04f0" providerId="ADAL" clId="{D501E5E2-574F-6542-B665-A334471D5578}" dt="2023-12-18T13:44:35.520" v="7555" actId="700"/>
          <ac:spMkLst>
            <pc:docMk/>
            <pc:sldMk cId="4189800304" sldId="278"/>
            <ac:spMk id="3" creationId="{2EEEEEBE-81B5-B39B-25B2-144331766974}"/>
          </ac:spMkLst>
        </pc:spChg>
        <pc:spChg chg="mod ord">
          <ac:chgData name="Luca Ricci" userId="ee5f09d5-0832-4e68-94c9-d8bfd2ad04f0" providerId="ADAL" clId="{D501E5E2-574F-6542-B665-A334471D5578}" dt="2023-12-18T13:44:35.520" v="7555" actId="700"/>
          <ac:spMkLst>
            <pc:docMk/>
            <pc:sldMk cId="4189800304" sldId="278"/>
            <ac:spMk id="4" creationId="{BBCFA58C-3B32-944C-17DC-7DF429B8B8BE}"/>
          </ac:spMkLst>
        </pc:spChg>
        <pc:spChg chg="mod ord">
          <ac:chgData name="Luca Ricci" userId="ee5f09d5-0832-4e68-94c9-d8bfd2ad04f0" providerId="ADAL" clId="{D501E5E2-574F-6542-B665-A334471D5578}" dt="2023-12-18T13:44:35.520" v="7555" actId="700"/>
          <ac:spMkLst>
            <pc:docMk/>
            <pc:sldMk cId="4189800304" sldId="278"/>
            <ac:spMk id="5" creationId="{DD6E35ED-C859-283A-3E1E-8BD61035E2C9}"/>
          </ac:spMkLst>
        </pc:spChg>
        <pc:spChg chg="add mod ord">
          <ac:chgData name="Luca Ricci" userId="ee5f09d5-0832-4e68-94c9-d8bfd2ad04f0" providerId="ADAL" clId="{D501E5E2-574F-6542-B665-A334471D5578}" dt="2023-12-18T16:52:09.850" v="10235" actId="20577"/>
          <ac:spMkLst>
            <pc:docMk/>
            <pc:sldMk cId="4189800304" sldId="278"/>
            <ac:spMk id="6" creationId="{F01F8D75-610D-7A0C-3038-89746C951975}"/>
          </ac:spMkLst>
        </pc:spChg>
      </pc:sldChg>
      <pc:sldChg chg="modSp add mod">
        <pc:chgData name="Luca Ricci" userId="ee5f09d5-0832-4e68-94c9-d8bfd2ad04f0" providerId="ADAL" clId="{D501E5E2-574F-6542-B665-A334471D5578}" dt="2023-12-18T13:45:00.363" v="7598" actId="20577"/>
        <pc:sldMkLst>
          <pc:docMk/>
          <pc:sldMk cId="304618885" sldId="279"/>
        </pc:sldMkLst>
        <pc:spChg chg="mod">
          <ac:chgData name="Luca Ricci" userId="ee5f09d5-0832-4e68-94c9-d8bfd2ad04f0" providerId="ADAL" clId="{D501E5E2-574F-6542-B665-A334471D5578}" dt="2023-12-18T13:45:00.363" v="7598" actId="20577"/>
          <ac:spMkLst>
            <pc:docMk/>
            <pc:sldMk cId="304618885" sldId="279"/>
            <ac:spMk id="6" creationId="{F01F8D75-610D-7A0C-3038-89746C951975}"/>
          </ac:spMkLst>
        </pc:spChg>
      </pc:sldChg>
      <pc:sldChg chg="modSp add mod">
        <pc:chgData name="Luca Ricci" userId="ee5f09d5-0832-4e68-94c9-d8bfd2ad04f0" providerId="ADAL" clId="{D501E5E2-574F-6542-B665-A334471D5578}" dt="2023-12-18T13:45:16.801" v="7612" actId="20577"/>
        <pc:sldMkLst>
          <pc:docMk/>
          <pc:sldMk cId="3605496133" sldId="280"/>
        </pc:sldMkLst>
        <pc:spChg chg="mod">
          <ac:chgData name="Luca Ricci" userId="ee5f09d5-0832-4e68-94c9-d8bfd2ad04f0" providerId="ADAL" clId="{D501E5E2-574F-6542-B665-A334471D5578}" dt="2023-12-18T13:45:16.801" v="7612" actId="20577"/>
          <ac:spMkLst>
            <pc:docMk/>
            <pc:sldMk cId="3605496133" sldId="280"/>
            <ac:spMk id="6" creationId="{F01F8D75-610D-7A0C-3038-89746C951975}"/>
          </ac:spMkLst>
        </pc:spChg>
      </pc:sldChg>
      <pc:sldChg chg="modSp add mod">
        <pc:chgData name="Luca Ricci" userId="ee5f09d5-0832-4e68-94c9-d8bfd2ad04f0" providerId="ADAL" clId="{D501E5E2-574F-6542-B665-A334471D5578}" dt="2023-12-18T13:45:39.844" v="7633" actId="20577"/>
        <pc:sldMkLst>
          <pc:docMk/>
          <pc:sldMk cId="335704528" sldId="281"/>
        </pc:sldMkLst>
        <pc:spChg chg="mod">
          <ac:chgData name="Luca Ricci" userId="ee5f09d5-0832-4e68-94c9-d8bfd2ad04f0" providerId="ADAL" clId="{D501E5E2-574F-6542-B665-A334471D5578}" dt="2023-12-18T13:45:39.844" v="7633" actId="20577"/>
          <ac:spMkLst>
            <pc:docMk/>
            <pc:sldMk cId="335704528" sldId="281"/>
            <ac:spMk id="6" creationId="{F01F8D75-610D-7A0C-3038-89746C951975}"/>
          </ac:spMkLst>
        </pc:spChg>
      </pc:sldChg>
      <pc:sldChg chg="addSp modSp new mod ord">
        <pc:chgData name="Luca Ricci" userId="ee5f09d5-0832-4e68-94c9-d8bfd2ad04f0" providerId="ADAL" clId="{D501E5E2-574F-6542-B665-A334471D5578}" dt="2023-12-18T18:16:36.935" v="11044" actId="20577"/>
        <pc:sldMkLst>
          <pc:docMk/>
          <pc:sldMk cId="2523226674" sldId="282"/>
        </pc:sldMkLst>
        <pc:spChg chg="mod">
          <ac:chgData name="Luca Ricci" userId="ee5f09d5-0832-4e68-94c9-d8bfd2ad04f0" providerId="ADAL" clId="{D501E5E2-574F-6542-B665-A334471D5578}" dt="2023-12-18T17:51:13.830" v="10919" actId="20577"/>
          <ac:spMkLst>
            <pc:docMk/>
            <pc:sldMk cId="2523226674" sldId="282"/>
            <ac:spMk id="2" creationId="{8386E694-5EF7-1618-ACF4-DC987BEF617D}"/>
          </ac:spMkLst>
        </pc:spChg>
        <pc:spChg chg="mod">
          <ac:chgData name="Luca Ricci" userId="ee5f09d5-0832-4e68-94c9-d8bfd2ad04f0" providerId="ADAL" clId="{D501E5E2-574F-6542-B665-A334471D5578}" dt="2023-12-18T18:16:36.935" v="11044" actId="20577"/>
          <ac:spMkLst>
            <pc:docMk/>
            <pc:sldMk cId="2523226674" sldId="282"/>
            <ac:spMk id="3" creationId="{01D288B1-15CE-766C-62CA-8CB12FDF2102}"/>
          </ac:spMkLst>
        </pc:spChg>
        <pc:graphicFrameChg chg="add mod modGraphic">
          <ac:chgData name="Luca Ricci" userId="ee5f09d5-0832-4e68-94c9-d8bfd2ad04f0" providerId="ADAL" clId="{D501E5E2-574F-6542-B665-A334471D5578}" dt="2023-12-18T17:56:05.415" v="10924" actId="1076"/>
          <ac:graphicFrameMkLst>
            <pc:docMk/>
            <pc:sldMk cId="2523226674" sldId="282"/>
            <ac:graphicFrameMk id="6" creationId="{8A327F37-EAAA-5135-6A38-15567E3115EA}"/>
          </ac:graphicFrameMkLst>
        </pc:graphicFrameChg>
      </pc:sldChg>
      <pc:sldChg chg="addSp delSp modSp add mod modClrScheme chgLayout">
        <pc:chgData name="Luca Ricci" userId="ee5f09d5-0832-4e68-94c9-d8bfd2ad04f0" providerId="ADAL" clId="{D501E5E2-574F-6542-B665-A334471D5578}" dt="2023-12-18T18:12:30.611" v="11007" actId="20577"/>
        <pc:sldMkLst>
          <pc:docMk/>
          <pc:sldMk cId="2709073556" sldId="283"/>
        </pc:sldMkLst>
        <pc:spChg chg="add del mod ord">
          <ac:chgData name="Luca Ricci" userId="ee5f09d5-0832-4e68-94c9-d8bfd2ad04f0" providerId="ADAL" clId="{D501E5E2-574F-6542-B665-A334471D5578}" dt="2023-12-18T16:59:37.367" v="10277" actId="478"/>
          <ac:spMkLst>
            <pc:docMk/>
            <pc:sldMk cId="2709073556" sldId="283"/>
            <ac:spMk id="2" creationId="{0E2AD25D-C553-7C8F-6773-356419E96625}"/>
          </ac:spMkLst>
        </pc:spChg>
        <pc:spChg chg="mod ord">
          <ac:chgData name="Luca Ricci" userId="ee5f09d5-0832-4e68-94c9-d8bfd2ad04f0" providerId="ADAL" clId="{D501E5E2-574F-6542-B665-A334471D5578}" dt="2023-12-18T14:42:44.404" v="8434" actId="700"/>
          <ac:spMkLst>
            <pc:docMk/>
            <pc:sldMk cId="2709073556" sldId="283"/>
            <ac:spMk id="5" creationId="{BF713C4A-3C6F-723F-2F39-B89A8E786379}"/>
          </ac:spMkLst>
        </pc:spChg>
        <pc:spChg chg="mod ord">
          <ac:chgData name="Luca Ricci" userId="ee5f09d5-0832-4e68-94c9-d8bfd2ad04f0" providerId="ADAL" clId="{D501E5E2-574F-6542-B665-A334471D5578}" dt="2023-12-18T14:42:44.404" v="8434" actId="700"/>
          <ac:spMkLst>
            <pc:docMk/>
            <pc:sldMk cId="2709073556" sldId="283"/>
            <ac:spMk id="6" creationId="{05284F73-5454-3A31-9518-8B0D121C3D2B}"/>
          </ac:spMkLst>
        </pc:spChg>
        <pc:spChg chg="mod ord">
          <ac:chgData name="Luca Ricci" userId="ee5f09d5-0832-4e68-94c9-d8bfd2ad04f0" providerId="ADAL" clId="{D501E5E2-574F-6542-B665-A334471D5578}" dt="2023-12-18T18:12:30.611" v="11007" actId="20577"/>
          <ac:spMkLst>
            <pc:docMk/>
            <pc:sldMk cId="2709073556" sldId="283"/>
            <ac:spMk id="7" creationId="{45E90837-93DC-263A-637E-73E06C23CFAC}"/>
          </ac:spMkLst>
        </pc:spChg>
        <pc:spChg chg="mod ord">
          <ac:chgData name="Luca Ricci" userId="ee5f09d5-0832-4e68-94c9-d8bfd2ad04f0" providerId="ADAL" clId="{D501E5E2-574F-6542-B665-A334471D5578}" dt="2023-12-18T15:11:36.185" v="8654" actId="20577"/>
          <ac:spMkLst>
            <pc:docMk/>
            <pc:sldMk cId="2709073556" sldId="283"/>
            <ac:spMk id="8" creationId="{1FDF8926-1A71-B433-141E-DFE40C5AA871}"/>
          </ac:spMkLst>
        </pc:spChg>
      </pc:sldChg>
      <pc:sldChg chg="addSp delSp modSp add del mod modClrScheme chgLayout">
        <pc:chgData name="Luca Ricci" userId="ee5f09d5-0832-4e68-94c9-d8bfd2ad04f0" providerId="ADAL" clId="{D501E5E2-574F-6542-B665-A334471D5578}" dt="2023-12-18T14:46:22.854" v="8486" actId="2696"/>
        <pc:sldMkLst>
          <pc:docMk/>
          <pc:sldMk cId="115516131" sldId="284"/>
        </pc:sldMkLst>
        <pc:spChg chg="add del mod ord">
          <ac:chgData name="Luca Ricci" userId="ee5f09d5-0832-4e68-94c9-d8bfd2ad04f0" providerId="ADAL" clId="{D501E5E2-574F-6542-B665-A334471D5578}" dt="2023-12-18T14:44:45.768" v="8467" actId="1076"/>
          <ac:spMkLst>
            <pc:docMk/>
            <pc:sldMk cId="115516131" sldId="284"/>
            <ac:spMk id="2" creationId="{9330A689-5969-4492-9955-95B2173CF5E7}"/>
          </ac:spMkLst>
        </pc:spChg>
        <pc:spChg chg="mod ord">
          <ac:chgData name="Luca Ricci" userId="ee5f09d5-0832-4e68-94c9-d8bfd2ad04f0" providerId="ADAL" clId="{D501E5E2-574F-6542-B665-A334471D5578}" dt="2023-12-18T14:43:26.666" v="8451" actId="700"/>
          <ac:spMkLst>
            <pc:docMk/>
            <pc:sldMk cId="115516131" sldId="284"/>
            <ac:spMk id="5" creationId="{BF713C4A-3C6F-723F-2F39-B89A8E786379}"/>
          </ac:spMkLst>
        </pc:spChg>
        <pc:spChg chg="mod ord">
          <ac:chgData name="Luca Ricci" userId="ee5f09d5-0832-4e68-94c9-d8bfd2ad04f0" providerId="ADAL" clId="{D501E5E2-574F-6542-B665-A334471D5578}" dt="2023-12-18T14:43:26.666" v="8451" actId="700"/>
          <ac:spMkLst>
            <pc:docMk/>
            <pc:sldMk cId="115516131" sldId="284"/>
            <ac:spMk id="6" creationId="{05284F73-5454-3A31-9518-8B0D121C3D2B}"/>
          </ac:spMkLst>
        </pc:spChg>
        <pc:spChg chg="mod ord">
          <ac:chgData name="Luca Ricci" userId="ee5f09d5-0832-4e68-94c9-d8bfd2ad04f0" providerId="ADAL" clId="{D501E5E2-574F-6542-B665-A334471D5578}" dt="2023-12-18T14:45:01.772" v="8470" actId="20577"/>
          <ac:spMkLst>
            <pc:docMk/>
            <pc:sldMk cId="115516131" sldId="284"/>
            <ac:spMk id="7" creationId="{45E90837-93DC-263A-637E-73E06C23CFAC}"/>
          </ac:spMkLst>
        </pc:spChg>
        <pc:spChg chg="del mod ord">
          <ac:chgData name="Luca Ricci" userId="ee5f09d5-0832-4e68-94c9-d8bfd2ad04f0" providerId="ADAL" clId="{D501E5E2-574F-6542-B665-A334471D5578}" dt="2023-12-18T14:44:08.432" v="8462" actId="478"/>
          <ac:spMkLst>
            <pc:docMk/>
            <pc:sldMk cId="115516131" sldId="284"/>
            <ac:spMk id="8" creationId="{1FDF8926-1A71-B433-141E-DFE40C5AA871}"/>
          </ac:spMkLst>
        </pc:spChg>
        <pc:spChg chg="add del mod">
          <ac:chgData name="Luca Ricci" userId="ee5f09d5-0832-4e68-94c9-d8bfd2ad04f0" providerId="ADAL" clId="{D501E5E2-574F-6542-B665-A334471D5578}" dt="2023-12-18T14:44:15.987" v="8463" actId="931"/>
          <ac:spMkLst>
            <pc:docMk/>
            <pc:sldMk cId="115516131" sldId="284"/>
            <ac:spMk id="10" creationId="{E8B96778-7694-4BA2-7C55-95EDCBB929C5}"/>
          </ac:spMkLst>
        </pc:spChg>
        <pc:picChg chg="add mod">
          <ac:chgData name="Luca Ricci" userId="ee5f09d5-0832-4e68-94c9-d8bfd2ad04f0" providerId="ADAL" clId="{D501E5E2-574F-6542-B665-A334471D5578}" dt="2023-12-18T14:43:57.027" v="8459" actId="931"/>
          <ac:picMkLst>
            <pc:docMk/>
            <pc:sldMk cId="115516131" sldId="284"/>
            <ac:picMk id="4" creationId="{DA3513E2-F125-260B-6DC7-3ECE2ADDF17D}"/>
          </ac:picMkLst>
        </pc:picChg>
        <pc:picChg chg="add mod">
          <ac:chgData name="Luca Ricci" userId="ee5f09d5-0832-4e68-94c9-d8bfd2ad04f0" providerId="ADAL" clId="{D501E5E2-574F-6542-B665-A334471D5578}" dt="2023-12-18T14:44:26.894" v="8466" actId="1076"/>
          <ac:picMkLst>
            <pc:docMk/>
            <pc:sldMk cId="115516131" sldId="284"/>
            <ac:picMk id="12" creationId="{36A28968-9076-A795-5DE3-D56DCCC6314C}"/>
          </ac:picMkLst>
        </pc:picChg>
      </pc:sldChg>
      <pc:sldChg chg="addSp delSp modSp add mod modClrScheme chgLayout">
        <pc:chgData name="Luca Ricci" userId="ee5f09d5-0832-4e68-94c9-d8bfd2ad04f0" providerId="ADAL" clId="{D501E5E2-574F-6542-B665-A334471D5578}" dt="2023-12-18T17:00:08.348" v="10284" actId="20577"/>
        <pc:sldMkLst>
          <pc:docMk/>
          <pc:sldMk cId="3067180519" sldId="284"/>
        </pc:sldMkLst>
        <pc:spChg chg="mod ord">
          <ac:chgData name="Luca Ricci" userId="ee5f09d5-0832-4e68-94c9-d8bfd2ad04f0" providerId="ADAL" clId="{D501E5E2-574F-6542-B665-A334471D5578}" dt="2023-12-18T17:00:08.348" v="10284" actId="20577"/>
          <ac:spMkLst>
            <pc:docMk/>
            <pc:sldMk cId="3067180519" sldId="284"/>
            <ac:spMk id="2" creationId="{96B142A3-3E18-4302-85FC-39EF0216B791}"/>
          </ac:spMkLst>
        </pc:spChg>
        <pc:spChg chg="add del mod">
          <ac:chgData name="Luca Ricci" userId="ee5f09d5-0832-4e68-94c9-d8bfd2ad04f0" providerId="ADAL" clId="{D501E5E2-574F-6542-B665-A334471D5578}" dt="2023-12-18T14:52:27.109" v="8495" actId="478"/>
          <ac:spMkLst>
            <pc:docMk/>
            <pc:sldMk cId="3067180519" sldId="284"/>
            <ac:spMk id="3" creationId="{8018C54F-F487-F048-D0F2-C28E84DCC4B9}"/>
          </ac:spMkLst>
        </pc:spChg>
        <pc:spChg chg="add del mod">
          <ac:chgData name="Luca Ricci" userId="ee5f09d5-0832-4e68-94c9-d8bfd2ad04f0" providerId="ADAL" clId="{D501E5E2-574F-6542-B665-A334471D5578}" dt="2023-12-18T14:54:54.981" v="8520" actId="931"/>
          <ac:spMkLst>
            <pc:docMk/>
            <pc:sldMk cId="3067180519" sldId="284"/>
            <ac:spMk id="5" creationId="{CB20D547-8C0C-C39B-D76C-DC706BF59521}"/>
          </ac:spMkLst>
        </pc:spChg>
        <pc:spChg chg="add mod">
          <ac:chgData name="Luca Ricci" userId="ee5f09d5-0832-4e68-94c9-d8bfd2ad04f0" providerId="ADAL" clId="{D501E5E2-574F-6542-B665-A334471D5578}" dt="2023-12-18T14:57:27.037" v="8549" actId="1076"/>
          <ac:spMkLst>
            <pc:docMk/>
            <pc:sldMk cId="3067180519" sldId="284"/>
            <ac:spMk id="8" creationId="{B4335C91-4C96-6D29-367B-868F995E5876}"/>
          </ac:spMkLst>
        </pc:spChg>
        <pc:spChg chg="add mod">
          <ac:chgData name="Luca Ricci" userId="ee5f09d5-0832-4e68-94c9-d8bfd2ad04f0" providerId="ADAL" clId="{D501E5E2-574F-6542-B665-A334471D5578}" dt="2023-12-18T15:16:08.016" v="8665" actId="1076"/>
          <ac:spMkLst>
            <pc:docMk/>
            <pc:sldMk cId="3067180519" sldId="284"/>
            <ac:spMk id="9" creationId="{08FB12AA-415E-766F-FA60-DFFB61A07CE6}"/>
          </ac:spMkLst>
        </pc:spChg>
        <pc:spChg chg="del mod">
          <ac:chgData name="Luca Ricci" userId="ee5f09d5-0832-4e68-94c9-d8bfd2ad04f0" providerId="ADAL" clId="{D501E5E2-574F-6542-B665-A334471D5578}" dt="2023-12-18T14:57:08.039" v="8544" actId="478"/>
          <ac:spMkLst>
            <pc:docMk/>
            <pc:sldMk cId="3067180519" sldId="284"/>
            <ac:spMk id="10" creationId="{5A82A501-62D7-BA88-FCEA-42DF25F31526}"/>
          </ac:spMkLst>
        </pc:spChg>
        <pc:spChg chg="add mod">
          <ac:chgData name="Luca Ricci" userId="ee5f09d5-0832-4e68-94c9-d8bfd2ad04f0" providerId="ADAL" clId="{D501E5E2-574F-6542-B665-A334471D5578}" dt="2023-12-18T15:16:06.290" v="8664" actId="1076"/>
          <ac:spMkLst>
            <pc:docMk/>
            <pc:sldMk cId="3067180519" sldId="284"/>
            <ac:spMk id="11" creationId="{3C8B4FD3-7100-3379-6BFC-F10B06623988}"/>
          </ac:spMkLst>
        </pc:spChg>
        <pc:spChg chg="add mod">
          <ac:chgData name="Luca Ricci" userId="ee5f09d5-0832-4e68-94c9-d8bfd2ad04f0" providerId="ADAL" clId="{D501E5E2-574F-6542-B665-A334471D5578}" dt="2023-12-18T14:57:46.248" v="8554" actId="1076"/>
          <ac:spMkLst>
            <pc:docMk/>
            <pc:sldMk cId="3067180519" sldId="284"/>
            <ac:spMk id="12" creationId="{385FE691-C6CA-4A9C-64AC-71CEDEBA8FD8}"/>
          </ac:spMkLst>
        </pc:spChg>
        <pc:spChg chg="add del mod">
          <ac:chgData name="Luca Ricci" userId="ee5f09d5-0832-4e68-94c9-d8bfd2ad04f0" providerId="ADAL" clId="{D501E5E2-574F-6542-B665-A334471D5578}" dt="2023-12-18T14:57:12.827" v="8545" actId="700"/>
          <ac:spMkLst>
            <pc:docMk/>
            <pc:sldMk cId="3067180519" sldId="284"/>
            <ac:spMk id="14" creationId="{0C04A4EA-3E36-156D-B0F7-3B51132B6E75}"/>
          </ac:spMkLst>
        </pc:spChg>
        <pc:spChg chg="add del mod">
          <ac:chgData name="Luca Ricci" userId="ee5f09d5-0832-4e68-94c9-d8bfd2ad04f0" providerId="ADAL" clId="{D501E5E2-574F-6542-B665-A334471D5578}" dt="2023-12-18T14:58:37.732" v="8577" actId="478"/>
          <ac:spMkLst>
            <pc:docMk/>
            <pc:sldMk cId="3067180519" sldId="284"/>
            <ac:spMk id="15" creationId="{A574FDDC-00C8-7A3C-322D-790D42F8459C}"/>
          </ac:spMkLst>
        </pc:spChg>
        <pc:spChg chg="add mod">
          <ac:chgData name="Luca Ricci" userId="ee5f09d5-0832-4e68-94c9-d8bfd2ad04f0" providerId="ADAL" clId="{D501E5E2-574F-6542-B665-A334471D5578}" dt="2023-12-18T14:58:36.489" v="8576" actId="1076"/>
          <ac:spMkLst>
            <pc:docMk/>
            <pc:sldMk cId="3067180519" sldId="284"/>
            <ac:spMk id="17" creationId="{6E6E657B-03B6-CD6E-C18A-A36B16B6166E}"/>
          </ac:spMkLst>
        </pc:spChg>
        <pc:spChg chg="add mod">
          <ac:chgData name="Luca Ricci" userId="ee5f09d5-0832-4e68-94c9-d8bfd2ad04f0" providerId="ADAL" clId="{D501E5E2-574F-6542-B665-A334471D5578}" dt="2023-12-18T15:41:49.380" v="9170" actId="1076"/>
          <ac:spMkLst>
            <pc:docMk/>
            <pc:sldMk cId="3067180519" sldId="284"/>
            <ac:spMk id="18" creationId="{EC14E028-47A8-3F77-E61A-A9C247CAE17A}"/>
          </ac:spMkLst>
        </pc:spChg>
        <pc:spChg chg="add mod">
          <ac:chgData name="Luca Ricci" userId="ee5f09d5-0832-4e68-94c9-d8bfd2ad04f0" providerId="ADAL" clId="{D501E5E2-574F-6542-B665-A334471D5578}" dt="2023-12-18T15:00:08.514" v="8588" actId="1076"/>
          <ac:spMkLst>
            <pc:docMk/>
            <pc:sldMk cId="3067180519" sldId="284"/>
            <ac:spMk id="19" creationId="{F7924BD0-A860-D75C-F27F-432350D356EF}"/>
          </ac:spMkLst>
        </pc:spChg>
        <pc:spChg chg="add mod">
          <ac:chgData name="Luca Ricci" userId="ee5f09d5-0832-4e68-94c9-d8bfd2ad04f0" providerId="ADAL" clId="{D501E5E2-574F-6542-B665-A334471D5578}" dt="2023-12-18T15:00:53.920" v="8600" actId="14100"/>
          <ac:spMkLst>
            <pc:docMk/>
            <pc:sldMk cId="3067180519" sldId="284"/>
            <ac:spMk id="20" creationId="{2F5F9B3C-0A22-8977-02F4-B7DC19A8CA13}"/>
          </ac:spMkLst>
        </pc:spChg>
        <pc:spChg chg="add mod">
          <ac:chgData name="Luca Ricci" userId="ee5f09d5-0832-4e68-94c9-d8bfd2ad04f0" providerId="ADAL" clId="{D501E5E2-574F-6542-B665-A334471D5578}" dt="2023-12-18T15:00:48.734" v="8599" actId="1076"/>
          <ac:spMkLst>
            <pc:docMk/>
            <pc:sldMk cId="3067180519" sldId="284"/>
            <ac:spMk id="21" creationId="{8E0EDE74-9318-2E12-4253-34A547DD9650}"/>
          </ac:spMkLst>
        </pc:spChg>
        <pc:spChg chg="add del mod">
          <ac:chgData name="Luca Ricci" userId="ee5f09d5-0832-4e68-94c9-d8bfd2ad04f0" providerId="ADAL" clId="{D501E5E2-574F-6542-B665-A334471D5578}" dt="2023-12-18T15:15:32.461" v="8658" actId="700"/>
          <ac:spMkLst>
            <pc:docMk/>
            <pc:sldMk cId="3067180519" sldId="284"/>
            <ac:spMk id="25" creationId="{08074358-603A-092C-DE84-E5810CE6204D}"/>
          </ac:spMkLst>
        </pc:spChg>
        <pc:spChg chg="add mod">
          <ac:chgData name="Luca Ricci" userId="ee5f09d5-0832-4e68-94c9-d8bfd2ad04f0" providerId="ADAL" clId="{D501E5E2-574F-6542-B665-A334471D5578}" dt="2023-12-18T15:16:23.454" v="8669" actId="1076"/>
          <ac:spMkLst>
            <pc:docMk/>
            <pc:sldMk cId="3067180519" sldId="284"/>
            <ac:spMk id="26" creationId="{8D070337-FA53-CE7E-31BC-94735CFCB9F9}"/>
          </ac:spMkLst>
        </pc:spChg>
        <pc:spChg chg="add mod">
          <ac:chgData name="Luca Ricci" userId="ee5f09d5-0832-4e68-94c9-d8bfd2ad04f0" providerId="ADAL" clId="{D501E5E2-574F-6542-B665-A334471D5578}" dt="2023-12-18T15:16:20.374" v="8668"/>
          <ac:spMkLst>
            <pc:docMk/>
            <pc:sldMk cId="3067180519" sldId="284"/>
            <ac:spMk id="27" creationId="{65A7E454-54FA-BF83-F5BD-7951A7BCA189}"/>
          </ac:spMkLst>
        </pc:spChg>
        <pc:spChg chg="add mod">
          <ac:chgData name="Luca Ricci" userId="ee5f09d5-0832-4e68-94c9-d8bfd2ad04f0" providerId="ADAL" clId="{D501E5E2-574F-6542-B665-A334471D5578}" dt="2023-12-18T15:16:48.542" v="8671" actId="1076"/>
          <ac:spMkLst>
            <pc:docMk/>
            <pc:sldMk cId="3067180519" sldId="284"/>
            <ac:spMk id="28" creationId="{85FE7B0F-336C-5474-8DA5-E45BFBD4847E}"/>
          </ac:spMkLst>
        </pc:spChg>
        <pc:spChg chg="add mod">
          <ac:chgData name="Luca Ricci" userId="ee5f09d5-0832-4e68-94c9-d8bfd2ad04f0" providerId="ADAL" clId="{D501E5E2-574F-6542-B665-A334471D5578}" dt="2023-12-18T15:18:00.680" v="8682" actId="1076"/>
          <ac:spMkLst>
            <pc:docMk/>
            <pc:sldMk cId="3067180519" sldId="284"/>
            <ac:spMk id="29" creationId="{09C60E09-80B1-1CE7-2BDA-49AC365FCB16}"/>
          </ac:spMkLst>
        </pc:spChg>
        <pc:spChg chg="add mod">
          <ac:chgData name="Luca Ricci" userId="ee5f09d5-0832-4e68-94c9-d8bfd2ad04f0" providerId="ADAL" clId="{D501E5E2-574F-6542-B665-A334471D5578}" dt="2023-12-18T15:41:52.753" v="9171" actId="1076"/>
          <ac:spMkLst>
            <pc:docMk/>
            <pc:sldMk cId="3067180519" sldId="284"/>
            <ac:spMk id="30" creationId="{942005E4-C945-D9E3-2D63-03456832886E}"/>
          </ac:spMkLst>
        </pc:spChg>
        <pc:picChg chg="add del mod ord">
          <ac:chgData name="Luca Ricci" userId="ee5f09d5-0832-4e68-94c9-d8bfd2ad04f0" providerId="ADAL" clId="{D501E5E2-574F-6542-B665-A334471D5578}" dt="2023-12-18T15:15:22.047" v="8657" actId="478"/>
          <ac:picMkLst>
            <pc:docMk/>
            <pc:sldMk cId="3067180519" sldId="284"/>
            <ac:picMk id="7" creationId="{A432BBB0-D5B9-B07F-DD00-F452DA1E23E0}"/>
          </ac:picMkLst>
        </pc:picChg>
        <pc:picChg chg="del">
          <ac:chgData name="Luca Ricci" userId="ee5f09d5-0832-4e68-94c9-d8bfd2ad04f0" providerId="ADAL" clId="{D501E5E2-574F-6542-B665-A334471D5578}" dt="2023-12-18T14:54:39.150" v="8519" actId="478"/>
          <ac:picMkLst>
            <pc:docMk/>
            <pc:sldMk cId="3067180519" sldId="284"/>
            <ac:picMk id="16" creationId="{69C012A2-2CBB-CC32-EDF2-0B6DFA6D9245}"/>
          </ac:picMkLst>
        </pc:picChg>
        <pc:picChg chg="add mod">
          <ac:chgData name="Luca Ricci" userId="ee5f09d5-0832-4e68-94c9-d8bfd2ad04f0" providerId="ADAL" clId="{D501E5E2-574F-6542-B665-A334471D5578}" dt="2023-12-18T15:15:58.229" v="8663" actId="1076"/>
          <ac:picMkLst>
            <pc:docMk/>
            <pc:sldMk cId="3067180519" sldId="284"/>
            <ac:picMk id="23" creationId="{76C3C410-CCB3-F38C-C2A9-B2A176F696DD}"/>
          </ac:picMkLst>
        </pc:picChg>
      </pc:sldChg>
      <pc:sldChg chg="addSp delSp modSp new mod modClrScheme chgLayout">
        <pc:chgData name="Luca Ricci" userId="ee5f09d5-0832-4e68-94c9-d8bfd2ad04f0" providerId="ADAL" clId="{D501E5E2-574F-6542-B665-A334471D5578}" dt="2023-12-18T17:01:18.783" v="10324" actId="20577"/>
        <pc:sldMkLst>
          <pc:docMk/>
          <pc:sldMk cId="4096381590" sldId="285"/>
        </pc:sldMkLst>
        <pc:spChg chg="del">
          <ac:chgData name="Luca Ricci" userId="ee5f09d5-0832-4e68-94c9-d8bfd2ad04f0" providerId="ADAL" clId="{D501E5E2-574F-6542-B665-A334471D5578}" dt="2023-12-18T15:06:57.324" v="8601" actId="700"/>
          <ac:spMkLst>
            <pc:docMk/>
            <pc:sldMk cId="4096381590" sldId="285"/>
            <ac:spMk id="2" creationId="{27353959-EBC4-689F-B90F-72FD4E26F624}"/>
          </ac:spMkLst>
        </pc:spChg>
        <pc:spChg chg="del">
          <ac:chgData name="Luca Ricci" userId="ee5f09d5-0832-4e68-94c9-d8bfd2ad04f0" providerId="ADAL" clId="{D501E5E2-574F-6542-B665-A334471D5578}" dt="2023-12-18T15:06:57.324" v="8601" actId="700"/>
          <ac:spMkLst>
            <pc:docMk/>
            <pc:sldMk cId="4096381590" sldId="285"/>
            <ac:spMk id="3" creationId="{DA3AE260-DA1B-23C1-A522-6EBA5B368ED0}"/>
          </ac:spMkLst>
        </pc:spChg>
        <pc:spChg chg="del mod ord">
          <ac:chgData name="Luca Ricci" userId="ee5f09d5-0832-4e68-94c9-d8bfd2ad04f0" providerId="ADAL" clId="{D501E5E2-574F-6542-B665-A334471D5578}" dt="2023-12-18T15:06:57.324" v="8601" actId="700"/>
          <ac:spMkLst>
            <pc:docMk/>
            <pc:sldMk cId="4096381590" sldId="285"/>
            <ac:spMk id="4" creationId="{855EAD17-B90F-F299-5F24-DF716233E0C5}"/>
          </ac:spMkLst>
        </pc:spChg>
        <pc:spChg chg="mod ord">
          <ac:chgData name="Luca Ricci" userId="ee5f09d5-0832-4e68-94c9-d8bfd2ad04f0" providerId="ADAL" clId="{D501E5E2-574F-6542-B665-A334471D5578}" dt="2023-12-18T15:07:00.129" v="8602" actId="700"/>
          <ac:spMkLst>
            <pc:docMk/>
            <pc:sldMk cId="4096381590" sldId="285"/>
            <ac:spMk id="5" creationId="{BF8D9A4E-3C0D-8065-0784-B25B4B7E4853}"/>
          </ac:spMkLst>
        </pc:spChg>
        <pc:spChg chg="mod ord">
          <ac:chgData name="Luca Ricci" userId="ee5f09d5-0832-4e68-94c9-d8bfd2ad04f0" providerId="ADAL" clId="{D501E5E2-574F-6542-B665-A334471D5578}" dt="2023-12-18T15:07:00.129" v="8602" actId="700"/>
          <ac:spMkLst>
            <pc:docMk/>
            <pc:sldMk cId="4096381590" sldId="285"/>
            <ac:spMk id="6" creationId="{B15837DB-C21D-7710-3A22-092C9B85D619}"/>
          </ac:spMkLst>
        </pc:spChg>
        <pc:spChg chg="add del mod ord">
          <ac:chgData name="Luca Ricci" userId="ee5f09d5-0832-4e68-94c9-d8bfd2ad04f0" providerId="ADAL" clId="{D501E5E2-574F-6542-B665-A334471D5578}" dt="2023-12-18T15:07:00.129" v="8602" actId="700"/>
          <ac:spMkLst>
            <pc:docMk/>
            <pc:sldMk cId="4096381590" sldId="285"/>
            <ac:spMk id="7" creationId="{6690EEAA-779C-E791-DDB3-875BC03AA9CC}"/>
          </ac:spMkLst>
        </pc:spChg>
        <pc:spChg chg="add mod ord">
          <ac:chgData name="Luca Ricci" userId="ee5f09d5-0832-4e68-94c9-d8bfd2ad04f0" providerId="ADAL" clId="{D501E5E2-574F-6542-B665-A334471D5578}" dt="2023-12-18T17:00:33.351" v="10302" actId="20577"/>
          <ac:spMkLst>
            <pc:docMk/>
            <pc:sldMk cId="4096381590" sldId="285"/>
            <ac:spMk id="8" creationId="{D2C75C14-A911-C389-6154-8D4483E3A06D}"/>
          </ac:spMkLst>
        </pc:spChg>
        <pc:spChg chg="add del mod ord">
          <ac:chgData name="Luca Ricci" userId="ee5f09d5-0832-4e68-94c9-d8bfd2ad04f0" providerId="ADAL" clId="{D501E5E2-574F-6542-B665-A334471D5578}" dt="2023-12-18T15:07:25.343" v="8626" actId="931"/>
          <ac:spMkLst>
            <pc:docMk/>
            <pc:sldMk cId="4096381590" sldId="285"/>
            <ac:spMk id="9" creationId="{0610D3B9-3E33-168A-7513-75513A9C3F81}"/>
          </ac:spMkLst>
        </pc:spChg>
        <pc:spChg chg="add del mod">
          <ac:chgData name="Luca Ricci" userId="ee5f09d5-0832-4e68-94c9-d8bfd2ad04f0" providerId="ADAL" clId="{D501E5E2-574F-6542-B665-A334471D5578}" dt="2023-12-18T15:08:06.834" v="8632" actId="478"/>
          <ac:spMkLst>
            <pc:docMk/>
            <pc:sldMk cId="4096381590" sldId="285"/>
            <ac:spMk id="12" creationId="{4216D693-D330-D707-DC37-9EC364EDAE86}"/>
          </ac:spMkLst>
        </pc:spChg>
        <pc:spChg chg="add mod">
          <ac:chgData name="Luca Ricci" userId="ee5f09d5-0832-4e68-94c9-d8bfd2ad04f0" providerId="ADAL" clId="{D501E5E2-574F-6542-B665-A334471D5578}" dt="2023-12-18T17:00:59.899" v="10305" actId="1076"/>
          <ac:spMkLst>
            <pc:docMk/>
            <pc:sldMk cId="4096381590" sldId="285"/>
            <ac:spMk id="13" creationId="{D75B17AE-BA3E-436A-071D-4B071130CBF4}"/>
          </ac:spMkLst>
        </pc:spChg>
        <pc:spChg chg="add mod">
          <ac:chgData name="Luca Ricci" userId="ee5f09d5-0832-4e68-94c9-d8bfd2ad04f0" providerId="ADAL" clId="{D501E5E2-574F-6542-B665-A334471D5578}" dt="2023-12-18T17:00:59.899" v="10305" actId="1076"/>
          <ac:spMkLst>
            <pc:docMk/>
            <pc:sldMk cId="4096381590" sldId="285"/>
            <ac:spMk id="14" creationId="{5C5F0634-FE9D-D290-8166-364060948F8E}"/>
          </ac:spMkLst>
        </pc:spChg>
        <pc:spChg chg="add mod">
          <ac:chgData name="Luca Ricci" userId="ee5f09d5-0832-4e68-94c9-d8bfd2ad04f0" providerId="ADAL" clId="{D501E5E2-574F-6542-B665-A334471D5578}" dt="2023-12-18T17:00:59.899" v="10305" actId="1076"/>
          <ac:spMkLst>
            <pc:docMk/>
            <pc:sldMk cId="4096381590" sldId="285"/>
            <ac:spMk id="15" creationId="{521532A9-523F-99ED-5939-21A7E6E5666D}"/>
          </ac:spMkLst>
        </pc:spChg>
        <pc:spChg chg="add mod">
          <ac:chgData name="Luca Ricci" userId="ee5f09d5-0832-4e68-94c9-d8bfd2ad04f0" providerId="ADAL" clId="{D501E5E2-574F-6542-B665-A334471D5578}" dt="2023-12-18T17:00:59.899" v="10305" actId="1076"/>
          <ac:spMkLst>
            <pc:docMk/>
            <pc:sldMk cId="4096381590" sldId="285"/>
            <ac:spMk id="16" creationId="{DBBBBEF7-C06B-C652-A92A-D546FD7BB3AC}"/>
          </ac:spMkLst>
        </pc:spChg>
        <pc:spChg chg="add mod">
          <ac:chgData name="Luca Ricci" userId="ee5f09d5-0832-4e68-94c9-d8bfd2ad04f0" providerId="ADAL" clId="{D501E5E2-574F-6542-B665-A334471D5578}" dt="2023-12-18T17:00:59.899" v="10305" actId="1076"/>
          <ac:spMkLst>
            <pc:docMk/>
            <pc:sldMk cId="4096381590" sldId="285"/>
            <ac:spMk id="17" creationId="{767EAA32-3809-8A3D-A9BD-E4D2FAA894E4}"/>
          </ac:spMkLst>
        </pc:spChg>
        <pc:spChg chg="add mod">
          <ac:chgData name="Luca Ricci" userId="ee5f09d5-0832-4e68-94c9-d8bfd2ad04f0" providerId="ADAL" clId="{D501E5E2-574F-6542-B665-A334471D5578}" dt="2023-12-18T17:00:59.899" v="10305" actId="1076"/>
          <ac:spMkLst>
            <pc:docMk/>
            <pc:sldMk cId="4096381590" sldId="285"/>
            <ac:spMk id="18" creationId="{B452B91A-3ECE-59CC-B6F2-0B27BA54EDE0}"/>
          </ac:spMkLst>
        </pc:spChg>
        <pc:spChg chg="add mod">
          <ac:chgData name="Luca Ricci" userId="ee5f09d5-0832-4e68-94c9-d8bfd2ad04f0" providerId="ADAL" clId="{D501E5E2-574F-6542-B665-A334471D5578}" dt="2023-12-18T17:00:59.899" v="10305" actId="1076"/>
          <ac:spMkLst>
            <pc:docMk/>
            <pc:sldMk cId="4096381590" sldId="285"/>
            <ac:spMk id="19" creationId="{A151F020-1ECC-16CD-F597-6966B15F85FE}"/>
          </ac:spMkLst>
        </pc:spChg>
        <pc:spChg chg="add mod">
          <ac:chgData name="Luca Ricci" userId="ee5f09d5-0832-4e68-94c9-d8bfd2ad04f0" providerId="ADAL" clId="{D501E5E2-574F-6542-B665-A334471D5578}" dt="2023-12-18T17:00:59.899" v="10305" actId="1076"/>
          <ac:spMkLst>
            <pc:docMk/>
            <pc:sldMk cId="4096381590" sldId="285"/>
            <ac:spMk id="20" creationId="{E0550366-571B-A409-6ADA-C63F55724987}"/>
          </ac:spMkLst>
        </pc:spChg>
        <pc:spChg chg="add mod">
          <ac:chgData name="Luca Ricci" userId="ee5f09d5-0832-4e68-94c9-d8bfd2ad04f0" providerId="ADAL" clId="{D501E5E2-574F-6542-B665-A334471D5578}" dt="2023-12-18T17:01:18.783" v="10324" actId="20577"/>
          <ac:spMkLst>
            <pc:docMk/>
            <pc:sldMk cId="4096381590" sldId="285"/>
            <ac:spMk id="21" creationId="{52A12BF5-E93B-31F3-D250-9B4517CF2987}"/>
          </ac:spMkLst>
        </pc:spChg>
        <pc:picChg chg="add mod">
          <ac:chgData name="Luca Ricci" userId="ee5f09d5-0832-4e68-94c9-d8bfd2ad04f0" providerId="ADAL" clId="{D501E5E2-574F-6542-B665-A334471D5578}" dt="2023-12-18T17:00:59.899" v="10305" actId="1076"/>
          <ac:picMkLst>
            <pc:docMk/>
            <pc:sldMk cId="4096381590" sldId="285"/>
            <ac:picMk id="11" creationId="{4C4491E1-C44C-3A82-E919-1956AB6DFFE6}"/>
          </ac:picMkLst>
        </pc:picChg>
      </pc:sldChg>
      <pc:sldChg chg="modSp new del mod">
        <pc:chgData name="Luca Ricci" userId="ee5f09d5-0832-4e68-94c9-d8bfd2ad04f0" providerId="ADAL" clId="{D501E5E2-574F-6542-B665-A334471D5578}" dt="2023-12-18T16:01:13.268" v="9380" actId="2696"/>
        <pc:sldMkLst>
          <pc:docMk/>
          <pc:sldMk cId="1698397760" sldId="286"/>
        </pc:sldMkLst>
        <pc:spChg chg="mod">
          <ac:chgData name="Luca Ricci" userId="ee5f09d5-0832-4e68-94c9-d8bfd2ad04f0" providerId="ADAL" clId="{D501E5E2-574F-6542-B665-A334471D5578}" dt="2023-12-18T15:20:08.755" v="8768" actId="20577"/>
          <ac:spMkLst>
            <pc:docMk/>
            <pc:sldMk cId="1698397760" sldId="286"/>
            <ac:spMk id="3" creationId="{7B4FDE7C-47A9-63A2-2261-EB6861658F85}"/>
          </ac:spMkLst>
        </pc:spChg>
      </pc:sldChg>
      <pc:sldChg chg="modSp mod">
        <pc:chgData name="Luca Ricci" userId="ee5f09d5-0832-4e68-94c9-d8bfd2ad04f0" providerId="ADAL" clId="{D501E5E2-574F-6542-B665-A334471D5578}" dt="2023-12-18T16:53:50.702" v="10236" actId="20577"/>
        <pc:sldMkLst>
          <pc:docMk/>
          <pc:sldMk cId="4187071354" sldId="287"/>
        </pc:sldMkLst>
        <pc:spChg chg="mod">
          <ac:chgData name="Luca Ricci" userId="ee5f09d5-0832-4e68-94c9-d8bfd2ad04f0" providerId="ADAL" clId="{D501E5E2-574F-6542-B665-A334471D5578}" dt="2023-12-18T16:53:50.702" v="10236" actId="20577"/>
          <ac:spMkLst>
            <pc:docMk/>
            <pc:sldMk cId="4187071354" sldId="287"/>
            <ac:spMk id="7" creationId="{1831B4C8-BE7C-5A59-D3B4-3B0DC386F8C3}"/>
          </ac:spMkLst>
        </pc:spChg>
      </pc:sldChg>
      <pc:sldChg chg="addSp delSp modSp new mod">
        <pc:chgData name="Luca Ricci" userId="ee5f09d5-0832-4e68-94c9-d8bfd2ad04f0" providerId="ADAL" clId="{D501E5E2-574F-6542-B665-A334471D5578}" dt="2023-12-18T18:09:31.388" v="10959" actId="14100"/>
        <pc:sldMkLst>
          <pc:docMk/>
          <pc:sldMk cId="1947591369" sldId="288"/>
        </pc:sldMkLst>
        <pc:spChg chg="del">
          <ac:chgData name="Luca Ricci" userId="ee5f09d5-0832-4e68-94c9-d8bfd2ad04f0" providerId="ADAL" clId="{D501E5E2-574F-6542-B665-A334471D5578}" dt="2023-12-18T17:28:54.237" v="10344" actId="931"/>
          <ac:spMkLst>
            <pc:docMk/>
            <pc:sldMk cId="1947591369" sldId="288"/>
            <ac:spMk id="2" creationId="{DA3D7461-26A4-74B4-1CDE-9EE14EAD45CA}"/>
          </ac:spMkLst>
        </pc:spChg>
        <pc:spChg chg="mod">
          <ac:chgData name="Luca Ricci" userId="ee5f09d5-0832-4e68-94c9-d8bfd2ad04f0" providerId="ADAL" clId="{D501E5E2-574F-6542-B665-A334471D5578}" dt="2023-12-18T15:51:16.732" v="9281" actId="20577"/>
          <ac:spMkLst>
            <pc:docMk/>
            <pc:sldMk cId="1947591369" sldId="288"/>
            <ac:spMk id="3" creationId="{90402BD7-E357-89B2-9EF8-AEC90DF0ACA4}"/>
          </ac:spMkLst>
        </pc:spChg>
        <pc:spChg chg="add mod">
          <ac:chgData name="Luca Ricci" userId="ee5f09d5-0832-4e68-94c9-d8bfd2ad04f0" providerId="ADAL" clId="{D501E5E2-574F-6542-B665-A334471D5578}" dt="2023-12-18T18:09:31.388" v="10959" actId="14100"/>
          <ac:spMkLst>
            <pc:docMk/>
            <pc:sldMk cId="1947591369" sldId="288"/>
            <ac:spMk id="10" creationId="{C179F220-A824-3D78-5583-0A42423934EB}"/>
          </ac:spMkLst>
        </pc:spChg>
        <pc:picChg chg="add mod">
          <ac:chgData name="Luca Ricci" userId="ee5f09d5-0832-4e68-94c9-d8bfd2ad04f0" providerId="ADAL" clId="{D501E5E2-574F-6542-B665-A334471D5578}" dt="2023-12-18T17:37:30.974" v="10372" actId="14826"/>
          <ac:picMkLst>
            <pc:docMk/>
            <pc:sldMk cId="1947591369" sldId="288"/>
            <ac:picMk id="7" creationId="{CF4F1177-8FF5-2D4F-6FD9-80230769F509}"/>
          </ac:picMkLst>
        </pc:picChg>
        <pc:picChg chg="add mod">
          <ac:chgData name="Luca Ricci" userId="ee5f09d5-0832-4e68-94c9-d8bfd2ad04f0" providerId="ADAL" clId="{D501E5E2-574F-6542-B665-A334471D5578}" dt="2023-12-18T17:32:47.101" v="10367" actId="1076"/>
          <ac:picMkLst>
            <pc:docMk/>
            <pc:sldMk cId="1947591369" sldId="288"/>
            <ac:picMk id="9" creationId="{1F81E7B1-F70F-7749-DFFA-338F32E41C57}"/>
          </ac:picMkLst>
        </pc:picChg>
      </pc:sldChg>
      <pc:sldChg chg="addSp delSp modSp new del mod modClrScheme chgLayout">
        <pc:chgData name="Luca Ricci" userId="ee5f09d5-0832-4e68-94c9-d8bfd2ad04f0" providerId="ADAL" clId="{D501E5E2-574F-6542-B665-A334471D5578}" dt="2023-12-18T16:34:48.394" v="9628" actId="2696"/>
        <pc:sldMkLst>
          <pc:docMk/>
          <pc:sldMk cId="316799199" sldId="289"/>
        </pc:sldMkLst>
        <pc:spChg chg="del mod ord">
          <ac:chgData name="Luca Ricci" userId="ee5f09d5-0832-4e68-94c9-d8bfd2ad04f0" providerId="ADAL" clId="{D501E5E2-574F-6542-B665-A334471D5578}" dt="2023-12-18T16:33:32.847" v="9517" actId="700"/>
          <ac:spMkLst>
            <pc:docMk/>
            <pc:sldMk cId="316799199" sldId="289"/>
            <ac:spMk id="2" creationId="{FFC2848C-0F19-5565-FFF2-4E47B09EE352}"/>
          </ac:spMkLst>
        </pc:spChg>
        <pc:spChg chg="mod ord">
          <ac:chgData name="Luca Ricci" userId="ee5f09d5-0832-4e68-94c9-d8bfd2ad04f0" providerId="ADAL" clId="{D501E5E2-574F-6542-B665-A334471D5578}" dt="2023-12-18T16:33:37.514" v="9518" actId="700"/>
          <ac:spMkLst>
            <pc:docMk/>
            <pc:sldMk cId="316799199" sldId="289"/>
            <ac:spMk id="3" creationId="{7325A60B-743D-076B-4098-6D2C66C478C6}"/>
          </ac:spMkLst>
        </pc:spChg>
        <pc:spChg chg="mod ord">
          <ac:chgData name="Luca Ricci" userId="ee5f09d5-0832-4e68-94c9-d8bfd2ad04f0" providerId="ADAL" clId="{D501E5E2-574F-6542-B665-A334471D5578}" dt="2023-12-18T16:33:37.514" v="9518" actId="700"/>
          <ac:spMkLst>
            <pc:docMk/>
            <pc:sldMk cId="316799199" sldId="289"/>
            <ac:spMk id="4" creationId="{2C4FCAF9-13BC-F05E-C96C-38C78823DDDE}"/>
          </ac:spMkLst>
        </pc:spChg>
        <pc:spChg chg="add del mod ord">
          <ac:chgData name="Luca Ricci" userId="ee5f09d5-0832-4e68-94c9-d8bfd2ad04f0" providerId="ADAL" clId="{D501E5E2-574F-6542-B665-A334471D5578}" dt="2023-12-18T16:33:37.514" v="9518" actId="700"/>
          <ac:spMkLst>
            <pc:docMk/>
            <pc:sldMk cId="316799199" sldId="289"/>
            <ac:spMk id="5" creationId="{C26E123C-B9A5-349F-FFBD-2780E1FA806A}"/>
          </ac:spMkLst>
        </pc:spChg>
        <pc:spChg chg="add mod ord">
          <ac:chgData name="Luca Ricci" userId="ee5f09d5-0832-4e68-94c9-d8bfd2ad04f0" providerId="ADAL" clId="{D501E5E2-574F-6542-B665-A334471D5578}" dt="2023-12-18T16:33:40.334" v="9522" actId="20577"/>
          <ac:spMkLst>
            <pc:docMk/>
            <pc:sldMk cId="316799199" sldId="289"/>
            <ac:spMk id="6" creationId="{F882F5DE-38BE-2E6C-0AA3-E43C0285B4A9}"/>
          </ac:spMkLst>
        </pc:spChg>
        <pc:spChg chg="add mod ord">
          <ac:chgData name="Luca Ricci" userId="ee5f09d5-0832-4e68-94c9-d8bfd2ad04f0" providerId="ADAL" clId="{D501E5E2-574F-6542-B665-A334471D5578}" dt="2023-12-18T16:34:20.762" v="9627" actId="20577"/>
          <ac:spMkLst>
            <pc:docMk/>
            <pc:sldMk cId="316799199" sldId="289"/>
            <ac:spMk id="7" creationId="{3B2F9DA6-156E-2EFC-C417-59358D893411}"/>
          </ac:spMkLst>
        </pc:spChg>
      </pc:sldChg>
      <pc:sldChg chg="modSp add mod">
        <pc:chgData name="Luca Ricci" userId="ee5f09d5-0832-4e68-94c9-d8bfd2ad04f0" providerId="ADAL" clId="{D501E5E2-574F-6542-B665-A334471D5578}" dt="2023-12-18T17:04:18.466" v="10343" actId="15"/>
        <pc:sldMkLst>
          <pc:docMk/>
          <pc:sldMk cId="1323570930" sldId="289"/>
        </pc:sldMkLst>
        <pc:spChg chg="mod">
          <ac:chgData name="Luca Ricci" userId="ee5f09d5-0832-4e68-94c9-d8bfd2ad04f0" providerId="ADAL" clId="{D501E5E2-574F-6542-B665-A334471D5578}" dt="2023-12-18T17:04:18.466" v="10343" actId="15"/>
          <ac:spMkLst>
            <pc:docMk/>
            <pc:sldMk cId="1323570930" sldId="289"/>
            <ac:spMk id="2" creationId="{B545D168-F5D6-D66F-354B-7282097BB224}"/>
          </ac:spMkLst>
        </pc:spChg>
        <pc:spChg chg="mod">
          <ac:chgData name="Luca Ricci" userId="ee5f09d5-0832-4e68-94c9-d8bfd2ad04f0" providerId="ADAL" clId="{D501E5E2-574F-6542-B665-A334471D5578}" dt="2023-12-18T16:41:09.148" v="9861" actId="20577"/>
          <ac:spMkLst>
            <pc:docMk/>
            <pc:sldMk cId="1323570930" sldId="289"/>
            <ac:spMk id="3" creationId="{ACD80753-20DC-28DE-860C-EBBFE720783E}"/>
          </ac:spMkLst>
        </pc:spChg>
      </pc:sldChg>
      <pc:sldChg chg="new del">
        <pc:chgData name="Luca Ricci" userId="ee5f09d5-0832-4e68-94c9-d8bfd2ad04f0" providerId="ADAL" clId="{D501E5E2-574F-6542-B665-A334471D5578}" dt="2023-12-18T16:02:37.550" v="9381" actId="2696"/>
        <pc:sldMkLst>
          <pc:docMk/>
          <pc:sldMk cId="2893372073" sldId="289"/>
        </pc:sldMkLst>
      </pc:sldChg>
      <pc:sldChg chg="add mod modShow">
        <pc:chgData name="Luca Ricci" userId="ee5f09d5-0832-4e68-94c9-d8bfd2ad04f0" providerId="ADAL" clId="{D501E5E2-574F-6542-B665-A334471D5578}" dt="2023-12-18T18:21:18.871" v="11144" actId="729"/>
        <pc:sldMkLst>
          <pc:docMk/>
          <pc:sldMk cId="102636184" sldId="290"/>
        </pc:sldMkLst>
      </pc:sldChg>
      <pc:sldMasterChg chg="modSp mod setBg delSldLayout modSldLayout sldLayoutOrd">
        <pc:chgData name="Luca Ricci" userId="ee5f09d5-0832-4e68-94c9-d8bfd2ad04f0" providerId="ADAL" clId="{D501E5E2-574F-6542-B665-A334471D5578}" dt="2023-12-18T18:14:45.046" v="11027" actId="20577"/>
        <pc:sldMasterMkLst>
          <pc:docMk/>
          <pc:sldMasterMk cId="0" sldId="2147483715"/>
        </pc:sldMasterMkLst>
        <pc:spChg chg="mod">
          <ac:chgData name="Luca Ricci" userId="ee5f09d5-0832-4e68-94c9-d8bfd2ad04f0" providerId="ADAL" clId="{D501E5E2-574F-6542-B665-A334471D5578}" dt="2023-12-18T14:40:49.487" v="8421" actId="403"/>
          <ac:spMkLst>
            <pc:docMk/>
            <pc:sldMasterMk cId="0" sldId="2147483715"/>
            <ac:spMk id="15" creationId="{00000000-0000-0000-0000-000000000000}"/>
          </ac:spMkLst>
        </pc:spChg>
        <pc:spChg chg="mod">
          <ac:chgData name="Luca Ricci" userId="ee5f09d5-0832-4e68-94c9-d8bfd2ad04f0" providerId="ADAL" clId="{D501E5E2-574F-6542-B665-A334471D5578}" dt="2023-12-18T14:40:53.831" v="8422" actId="403"/>
          <ac:spMkLst>
            <pc:docMk/>
            <pc:sldMasterMk cId="0" sldId="2147483715"/>
            <ac:spMk id="16" creationId="{00000000-0000-0000-0000-000000000000}"/>
          </ac:spMkLst>
        </pc:spChg>
        <pc:picChg chg="mod">
          <ac:chgData name="Luca Ricci" userId="ee5f09d5-0832-4e68-94c9-d8bfd2ad04f0" providerId="ADAL" clId="{D501E5E2-574F-6542-B665-A334471D5578}" dt="2023-12-18T08:12:50.791" v="3" actId="1076"/>
          <ac:picMkLst>
            <pc:docMk/>
            <pc:sldMasterMk cId="0" sldId="2147483715"/>
            <ac:picMk id="10" creationId="{F0C8D1F1-BA28-4973-A394-021D3C969BE1}"/>
          </ac:picMkLst>
        </pc:picChg>
        <pc:sldLayoutChg chg="delSp modSp mod setBg">
          <pc:chgData name="Luca Ricci" userId="ee5f09d5-0832-4e68-94c9-d8bfd2ad04f0" providerId="ADAL" clId="{D501E5E2-574F-6542-B665-A334471D5578}" dt="2023-12-18T14:45:34.897" v="8474" actId="478"/>
          <pc:sldLayoutMkLst>
            <pc:docMk/>
            <pc:sldMasterMk cId="0" sldId="2147483715"/>
            <pc:sldLayoutMk cId="0" sldId="2147483729"/>
          </pc:sldLayoutMkLst>
          <pc:spChg chg="mod">
            <ac:chgData name="Luca Ricci" userId="ee5f09d5-0832-4e68-94c9-d8bfd2ad04f0" providerId="ADAL" clId="{D501E5E2-574F-6542-B665-A334471D5578}" dt="2023-12-18T08:21:40.986" v="422" actId="20577"/>
            <ac:spMkLst>
              <pc:docMk/>
              <pc:sldMasterMk cId="0" sldId="2147483715"/>
              <pc:sldLayoutMk cId="0" sldId="2147483729"/>
              <ac:spMk id="16" creationId="{BB857729-3B9C-45BF-8F44-236D56EED406}"/>
            </ac:spMkLst>
          </pc:spChg>
          <pc:spChg chg="del">
            <ac:chgData name="Luca Ricci" userId="ee5f09d5-0832-4e68-94c9-d8bfd2ad04f0" providerId="ADAL" clId="{D501E5E2-574F-6542-B665-A334471D5578}" dt="2023-12-18T14:45:34.897" v="8474" actId="478"/>
            <ac:spMkLst>
              <pc:docMk/>
              <pc:sldMasterMk cId="0" sldId="2147483715"/>
              <pc:sldLayoutMk cId="0" sldId="2147483729"/>
              <ac:spMk id="20" creationId="{37C1E426-F34B-4FFB-A688-C9E251A8BC0B}"/>
            </ac:spMkLst>
          </pc:spChg>
          <pc:spChg chg="del mod">
            <ac:chgData name="Luca Ricci" userId="ee5f09d5-0832-4e68-94c9-d8bfd2ad04f0" providerId="ADAL" clId="{D501E5E2-574F-6542-B665-A334471D5578}" dt="2023-12-18T09:08:17.266" v="674" actId="478"/>
            <ac:spMkLst>
              <pc:docMk/>
              <pc:sldMasterMk cId="0" sldId="2147483715"/>
              <pc:sldLayoutMk cId="0" sldId="2147483729"/>
              <ac:spMk id="22" creationId="{6976A686-032A-4DD8-ACB2-F6323D2BEB1D}"/>
            </ac:spMkLst>
          </pc:spChg>
        </pc:sldLayoutChg>
        <pc:sldLayoutChg chg="addSp delSp modSp mod setBg">
          <pc:chgData name="Luca Ricci" userId="ee5f09d5-0832-4e68-94c9-d8bfd2ad04f0" providerId="ADAL" clId="{D501E5E2-574F-6542-B665-A334471D5578}" dt="2023-12-18T14:45:38.844" v="8475" actId="478"/>
          <pc:sldLayoutMkLst>
            <pc:docMk/>
            <pc:sldMasterMk cId="0" sldId="2147483715"/>
            <pc:sldLayoutMk cId="0" sldId="2147483730"/>
          </pc:sldLayoutMkLst>
          <pc:spChg chg="del">
            <ac:chgData name="Luca Ricci" userId="ee5f09d5-0832-4e68-94c9-d8bfd2ad04f0" providerId="ADAL" clId="{D501E5E2-574F-6542-B665-A334471D5578}" dt="2023-12-18T08:22:15.589" v="423"/>
            <ac:spMkLst>
              <pc:docMk/>
              <pc:sldMasterMk cId="0" sldId="2147483715"/>
              <pc:sldLayoutMk cId="0" sldId="2147483730"/>
              <ac:spMk id="2" creationId="{17B8A1C3-E607-4E28-91A1-A973183FE78F}"/>
            </ac:spMkLst>
          </pc:spChg>
          <pc:spChg chg="add del mod">
            <ac:chgData name="Luca Ricci" userId="ee5f09d5-0832-4e68-94c9-d8bfd2ad04f0" providerId="ADAL" clId="{D501E5E2-574F-6542-B665-A334471D5578}" dt="2023-12-18T08:22:18.121" v="425"/>
            <ac:spMkLst>
              <pc:docMk/>
              <pc:sldMasterMk cId="0" sldId="2147483715"/>
              <pc:sldLayoutMk cId="0" sldId="2147483730"/>
              <ac:spMk id="4" creationId="{F2FF30EB-5F17-79B4-04AD-C6B3A97F0C7F}"/>
            </ac:spMkLst>
          </pc:spChg>
          <pc:spChg chg="add del mod">
            <ac:chgData name="Luca Ricci" userId="ee5f09d5-0832-4e68-94c9-d8bfd2ad04f0" providerId="ADAL" clId="{D501E5E2-574F-6542-B665-A334471D5578}" dt="2023-12-18T08:22:18.121" v="425"/>
            <ac:spMkLst>
              <pc:docMk/>
              <pc:sldMasterMk cId="0" sldId="2147483715"/>
              <pc:sldLayoutMk cId="0" sldId="2147483730"/>
              <ac:spMk id="5" creationId="{129A6AB8-AFF5-056F-19FF-8878526EB042}"/>
            </ac:spMkLst>
          </pc:spChg>
          <pc:spChg chg="add del">
            <ac:chgData name="Luca Ricci" userId="ee5f09d5-0832-4e68-94c9-d8bfd2ad04f0" providerId="ADAL" clId="{D501E5E2-574F-6542-B665-A334471D5578}" dt="2023-12-18T09:08:25.994" v="678" actId="478"/>
            <ac:spMkLst>
              <pc:docMk/>
              <pc:sldMasterMk cId="0" sldId="2147483715"/>
              <pc:sldLayoutMk cId="0" sldId="2147483730"/>
              <ac:spMk id="7" creationId="{00000000-0000-0000-0000-000000000000}"/>
            </ac:spMkLst>
          </pc:spChg>
          <pc:spChg chg="del">
            <ac:chgData name="Luca Ricci" userId="ee5f09d5-0832-4e68-94c9-d8bfd2ad04f0" providerId="ADAL" clId="{D501E5E2-574F-6542-B665-A334471D5578}" dt="2023-12-18T08:22:15.589" v="423"/>
            <ac:spMkLst>
              <pc:docMk/>
              <pc:sldMasterMk cId="0" sldId="2147483715"/>
              <pc:sldLayoutMk cId="0" sldId="2147483730"/>
              <ac:spMk id="10" creationId="{6B901E0B-D453-4CEB-8C35-51C25A27F89D}"/>
            </ac:spMkLst>
          </pc:spChg>
          <pc:spChg chg="del">
            <ac:chgData name="Luca Ricci" userId="ee5f09d5-0832-4e68-94c9-d8bfd2ad04f0" providerId="ADAL" clId="{D501E5E2-574F-6542-B665-A334471D5578}" dt="2023-12-18T08:22:15.589" v="423"/>
            <ac:spMkLst>
              <pc:docMk/>
              <pc:sldMasterMk cId="0" sldId="2147483715"/>
              <pc:sldLayoutMk cId="0" sldId="2147483730"/>
              <ac:spMk id="12" creationId="{212E0C1A-F772-4C8C-B2E7-03887DA46ED9}"/>
            </ac:spMkLst>
          </pc:spChg>
          <pc:spChg chg="add del mod">
            <ac:chgData name="Luca Ricci" userId="ee5f09d5-0832-4e68-94c9-d8bfd2ad04f0" providerId="ADAL" clId="{D501E5E2-574F-6542-B665-A334471D5578}" dt="2023-12-18T08:22:18.121" v="425"/>
            <ac:spMkLst>
              <pc:docMk/>
              <pc:sldMasterMk cId="0" sldId="2147483715"/>
              <pc:sldLayoutMk cId="0" sldId="2147483730"/>
              <ac:spMk id="14" creationId="{FB5ED900-CB2B-248C-ACDC-2DD0B4045141}"/>
            </ac:spMkLst>
          </pc:spChg>
          <pc:spChg chg="add mod">
            <ac:chgData name="Luca Ricci" userId="ee5f09d5-0832-4e68-94c9-d8bfd2ad04f0" providerId="ADAL" clId="{D501E5E2-574F-6542-B665-A334471D5578}" dt="2023-12-18T08:22:18.673" v="426"/>
            <ac:spMkLst>
              <pc:docMk/>
              <pc:sldMasterMk cId="0" sldId="2147483715"/>
              <pc:sldLayoutMk cId="0" sldId="2147483730"/>
              <ac:spMk id="16" creationId="{AE7C2CD8-51F6-84D5-C470-B938F011AB20}"/>
            </ac:spMkLst>
          </pc:spChg>
          <pc:spChg chg="mod">
            <ac:chgData name="Luca Ricci" userId="ee5f09d5-0832-4e68-94c9-d8bfd2ad04f0" providerId="ADAL" clId="{D501E5E2-574F-6542-B665-A334471D5578}" dt="2023-12-18T08:22:44.170" v="427"/>
            <ac:spMkLst>
              <pc:docMk/>
              <pc:sldMasterMk cId="0" sldId="2147483715"/>
              <pc:sldLayoutMk cId="0" sldId="2147483730"/>
              <ac:spMk id="17" creationId="{FE09BAC5-F3BC-4C51-A794-098F4099C052}"/>
            </ac:spMkLst>
          </pc:spChg>
          <pc:spChg chg="add mod">
            <ac:chgData name="Luca Ricci" userId="ee5f09d5-0832-4e68-94c9-d8bfd2ad04f0" providerId="ADAL" clId="{D501E5E2-574F-6542-B665-A334471D5578}" dt="2023-12-18T08:22:18.673" v="426"/>
            <ac:spMkLst>
              <pc:docMk/>
              <pc:sldMasterMk cId="0" sldId="2147483715"/>
              <pc:sldLayoutMk cId="0" sldId="2147483730"/>
              <ac:spMk id="18" creationId="{EE4D22F7-7348-86BB-D216-A2E404B743AB}"/>
            </ac:spMkLst>
          </pc:spChg>
          <pc:spChg chg="add mod">
            <ac:chgData name="Luca Ricci" userId="ee5f09d5-0832-4e68-94c9-d8bfd2ad04f0" providerId="ADAL" clId="{D501E5E2-574F-6542-B665-A334471D5578}" dt="2023-12-18T08:22:18.673" v="426"/>
            <ac:spMkLst>
              <pc:docMk/>
              <pc:sldMasterMk cId="0" sldId="2147483715"/>
              <pc:sldLayoutMk cId="0" sldId="2147483730"/>
              <ac:spMk id="20" creationId="{51FD46C1-99E4-32F0-2F7E-6F40AFB84D4A}"/>
            </ac:spMkLst>
          </pc:spChg>
          <pc:spChg chg="del">
            <ac:chgData name="Luca Ricci" userId="ee5f09d5-0832-4e68-94c9-d8bfd2ad04f0" providerId="ADAL" clId="{D501E5E2-574F-6542-B665-A334471D5578}" dt="2023-12-18T14:45:38.844" v="8475" actId="478"/>
            <ac:spMkLst>
              <pc:docMk/>
              <pc:sldMasterMk cId="0" sldId="2147483715"/>
              <pc:sldLayoutMk cId="0" sldId="2147483730"/>
              <ac:spMk id="21" creationId="{6F76DDB4-3F8E-4A82-B473-4784C9B20BC1}"/>
            </ac:spMkLst>
          </pc:spChg>
          <pc:spChg chg="add del mod">
            <ac:chgData name="Luca Ricci" userId="ee5f09d5-0832-4e68-94c9-d8bfd2ad04f0" providerId="ADAL" clId="{D501E5E2-574F-6542-B665-A334471D5578}" dt="2023-12-18T09:08:23.135" v="676" actId="478"/>
            <ac:spMkLst>
              <pc:docMk/>
              <pc:sldMasterMk cId="0" sldId="2147483715"/>
              <pc:sldLayoutMk cId="0" sldId="2147483730"/>
              <ac:spMk id="22" creationId="{B9D63E21-4B9B-CBEF-06B6-4DFBBEBD8C0A}"/>
            </ac:spMkLst>
          </pc:spChg>
          <pc:spChg chg="del">
            <ac:chgData name="Luca Ricci" userId="ee5f09d5-0832-4e68-94c9-d8bfd2ad04f0" providerId="ADAL" clId="{D501E5E2-574F-6542-B665-A334471D5578}" dt="2023-12-18T09:08:29.046" v="679" actId="478"/>
            <ac:spMkLst>
              <pc:docMk/>
              <pc:sldMasterMk cId="0" sldId="2147483715"/>
              <pc:sldLayoutMk cId="0" sldId="2147483730"/>
              <ac:spMk id="23" creationId="{2C326E6F-F54B-4E77-BCF5-73E6B02466B0}"/>
            </ac:spMkLst>
          </pc:spChg>
        </pc:sldLayoutChg>
        <pc:sldLayoutChg chg="delSp modSp mod setBg">
          <pc:chgData name="Luca Ricci" userId="ee5f09d5-0832-4e68-94c9-d8bfd2ad04f0" providerId="ADAL" clId="{D501E5E2-574F-6542-B665-A334471D5578}" dt="2023-12-18T14:45:42.400" v="8477" actId="478"/>
          <pc:sldLayoutMkLst>
            <pc:docMk/>
            <pc:sldMasterMk cId="0" sldId="2147483715"/>
            <pc:sldLayoutMk cId="0" sldId="2147483731"/>
          </pc:sldLayoutMkLst>
          <pc:spChg chg="mod">
            <ac:chgData name="Luca Ricci" userId="ee5f09d5-0832-4e68-94c9-d8bfd2ad04f0" providerId="ADAL" clId="{D501E5E2-574F-6542-B665-A334471D5578}" dt="2023-12-18T08:22:50.819" v="428"/>
            <ac:spMkLst>
              <pc:docMk/>
              <pc:sldMasterMk cId="0" sldId="2147483715"/>
              <pc:sldLayoutMk cId="0" sldId="2147483731"/>
              <ac:spMk id="18" creationId="{DC9834AE-8B30-477E-8C87-5F8E7D7B17A3}"/>
            </ac:spMkLst>
          </pc:spChg>
          <pc:spChg chg="del mod">
            <ac:chgData name="Luca Ricci" userId="ee5f09d5-0832-4e68-94c9-d8bfd2ad04f0" providerId="ADAL" clId="{D501E5E2-574F-6542-B665-A334471D5578}" dt="2023-12-18T14:45:42.400" v="8477" actId="478"/>
            <ac:spMkLst>
              <pc:docMk/>
              <pc:sldMasterMk cId="0" sldId="2147483715"/>
              <pc:sldLayoutMk cId="0" sldId="2147483731"/>
              <ac:spMk id="22" creationId="{A254D557-505E-4B08-8C5B-DEA083728C5A}"/>
            </ac:spMkLst>
          </pc:spChg>
          <pc:spChg chg="del">
            <ac:chgData name="Luca Ricci" userId="ee5f09d5-0832-4e68-94c9-d8bfd2ad04f0" providerId="ADAL" clId="{D501E5E2-574F-6542-B665-A334471D5578}" dt="2023-12-18T09:08:33.358" v="680" actId="478"/>
            <ac:spMkLst>
              <pc:docMk/>
              <pc:sldMasterMk cId="0" sldId="2147483715"/>
              <pc:sldLayoutMk cId="0" sldId="2147483731"/>
              <ac:spMk id="24" creationId="{6E3D16E2-B858-4F89-B7A0-119FBFC70810}"/>
            </ac:spMkLst>
          </pc:spChg>
        </pc:sldLayoutChg>
        <pc:sldLayoutChg chg="delSp modSp mod setBg">
          <pc:chgData name="Luca Ricci" userId="ee5f09d5-0832-4e68-94c9-d8bfd2ad04f0" providerId="ADAL" clId="{D501E5E2-574F-6542-B665-A334471D5578}" dt="2023-12-18T14:45:48.011" v="8478" actId="478"/>
          <pc:sldLayoutMkLst>
            <pc:docMk/>
            <pc:sldMasterMk cId="0" sldId="2147483715"/>
            <pc:sldLayoutMk cId="0" sldId="2147483732"/>
          </pc:sldLayoutMkLst>
          <pc:spChg chg="mod">
            <ac:chgData name="Luca Ricci" userId="ee5f09d5-0832-4e68-94c9-d8bfd2ad04f0" providerId="ADAL" clId="{D501E5E2-574F-6542-B665-A334471D5578}" dt="2023-12-18T08:23:00.191" v="429"/>
            <ac:spMkLst>
              <pc:docMk/>
              <pc:sldMasterMk cId="0" sldId="2147483715"/>
              <pc:sldLayoutMk cId="0" sldId="2147483732"/>
              <ac:spMk id="20" creationId="{C0C951CC-CB9B-43AC-8395-FB2751814E0F}"/>
            </ac:spMkLst>
          </pc:spChg>
          <pc:spChg chg="del">
            <ac:chgData name="Luca Ricci" userId="ee5f09d5-0832-4e68-94c9-d8bfd2ad04f0" providerId="ADAL" clId="{D501E5E2-574F-6542-B665-A334471D5578}" dt="2023-12-18T14:45:48.011" v="8478" actId="478"/>
            <ac:spMkLst>
              <pc:docMk/>
              <pc:sldMasterMk cId="0" sldId="2147483715"/>
              <pc:sldLayoutMk cId="0" sldId="2147483732"/>
              <ac:spMk id="24" creationId="{3F4900C8-0A39-4B02-8E0A-398AAC4831BF}"/>
            </ac:spMkLst>
          </pc:spChg>
          <pc:spChg chg="del">
            <ac:chgData name="Luca Ricci" userId="ee5f09d5-0832-4e68-94c9-d8bfd2ad04f0" providerId="ADAL" clId="{D501E5E2-574F-6542-B665-A334471D5578}" dt="2023-12-18T09:08:39.585" v="681" actId="478"/>
            <ac:spMkLst>
              <pc:docMk/>
              <pc:sldMasterMk cId="0" sldId="2147483715"/>
              <pc:sldLayoutMk cId="0" sldId="2147483732"/>
              <ac:spMk id="26" creationId="{A1158698-11CA-4310-AAEA-81BFB74C7A4D}"/>
            </ac:spMkLst>
          </pc:spChg>
        </pc:sldLayoutChg>
        <pc:sldLayoutChg chg="delSp modSp mod setBg">
          <pc:chgData name="Luca Ricci" userId="ee5f09d5-0832-4e68-94c9-d8bfd2ad04f0" providerId="ADAL" clId="{D501E5E2-574F-6542-B665-A334471D5578}" dt="2023-12-18T14:45:50.300" v="8479" actId="478"/>
          <pc:sldLayoutMkLst>
            <pc:docMk/>
            <pc:sldMasterMk cId="0" sldId="2147483715"/>
            <pc:sldLayoutMk cId="0" sldId="2147483733"/>
          </pc:sldLayoutMkLst>
          <pc:spChg chg="mod">
            <ac:chgData name="Luca Ricci" userId="ee5f09d5-0832-4e68-94c9-d8bfd2ad04f0" providerId="ADAL" clId="{D501E5E2-574F-6542-B665-A334471D5578}" dt="2023-12-18T08:23:07.322" v="430"/>
            <ac:spMkLst>
              <pc:docMk/>
              <pc:sldMasterMk cId="0" sldId="2147483715"/>
              <pc:sldLayoutMk cId="0" sldId="2147483733"/>
              <ac:spMk id="19" creationId="{0C8DD3BC-73D2-4101-B037-359F1B42B434}"/>
            </ac:spMkLst>
          </pc:spChg>
          <pc:spChg chg="del">
            <ac:chgData name="Luca Ricci" userId="ee5f09d5-0832-4e68-94c9-d8bfd2ad04f0" providerId="ADAL" clId="{D501E5E2-574F-6542-B665-A334471D5578}" dt="2023-12-18T14:45:50.300" v="8479" actId="478"/>
            <ac:spMkLst>
              <pc:docMk/>
              <pc:sldMasterMk cId="0" sldId="2147483715"/>
              <pc:sldLayoutMk cId="0" sldId="2147483733"/>
              <ac:spMk id="23" creationId="{FC21F178-EFAA-49DE-A35E-72E2C0CA3B0B}"/>
            </ac:spMkLst>
          </pc:spChg>
          <pc:spChg chg="del">
            <ac:chgData name="Luca Ricci" userId="ee5f09d5-0832-4e68-94c9-d8bfd2ad04f0" providerId="ADAL" clId="{D501E5E2-574F-6542-B665-A334471D5578}" dt="2023-12-18T09:08:42.908" v="682" actId="478"/>
            <ac:spMkLst>
              <pc:docMk/>
              <pc:sldMasterMk cId="0" sldId="2147483715"/>
              <pc:sldLayoutMk cId="0" sldId="2147483733"/>
              <ac:spMk id="25" creationId="{43B2B732-8EC3-4F44-986D-B5DAC6EA77C1}"/>
            </ac:spMkLst>
          </pc:spChg>
        </pc:sldLayoutChg>
        <pc:sldLayoutChg chg="delSp modSp mod setBg">
          <pc:chgData name="Luca Ricci" userId="ee5f09d5-0832-4e68-94c9-d8bfd2ad04f0" providerId="ADAL" clId="{D501E5E2-574F-6542-B665-A334471D5578}" dt="2023-12-18T14:45:53.350" v="8480" actId="478"/>
          <pc:sldLayoutMkLst>
            <pc:docMk/>
            <pc:sldMasterMk cId="0" sldId="2147483715"/>
            <pc:sldLayoutMk cId="0" sldId="2147483734"/>
          </pc:sldLayoutMkLst>
          <pc:spChg chg="mod">
            <ac:chgData name="Luca Ricci" userId="ee5f09d5-0832-4e68-94c9-d8bfd2ad04f0" providerId="ADAL" clId="{D501E5E2-574F-6542-B665-A334471D5578}" dt="2023-12-18T08:23:12.622" v="431"/>
            <ac:spMkLst>
              <pc:docMk/>
              <pc:sldMasterMk cId="0" sldId="2147483715"/>
              <pc:sldLayoutMk cId="0" sldId="2147483734"/>
              <ac:spMk id="20" creationId="{97E57A33-CDFD-4C72-B657-882682DACB1E}"/>
            </ac:spMkLst>
          </pc:spChg>
          <pc:spChg chg="del">
            <ac:chgData name="Luca Ricci" userId="ee5f09d5-0832-4e68-94c9-d8bfd2ad04f0" providerId="ADAL" clId="{D501E5E2-574F-6542-B665-A334471D5578}" dt="2023-12-18T14:45:53.350" v="8480" actId="478"/>
            <ac:spMkLst>
              <pc:docMk/>
              <pc:sldMasterMk cId="0" sldId="2147483715"/>
              <pc:sldLayoutMk cId="0" sldId="2147483734"/>
              <ac:spMk id="24" creationId="{F09BE8EF-EBD2-4B7A-9878-8440DC26C91A}"/>
            </ac:spMkLst>
          </pc:spChg>
          <pc:spChg chg="del">
            <ac:chgData name="Luca Ricci" userId="ee5f09d5-0832-4e68-94c9-d8bfd2ad04f0" providerId="ADAL" clId="{D501E5E2-574F-6542-B665-A334471D5578}" dt="2023-12-18T09:08:48.800" v="683" actId="478"/>
            <ac:spMkLst>
              <pc:docMk/>
              <pc:sldMasterMk cId="0" sldId="2147483715"/>
              <pc:sldLayoutMk cId="0" sldId="2147483734"/>
              <ac:spMk id="26" creationId="{99207B66-AFA5-4510-BF1D-29423C34CEF2}"/>
            </ac:spMkLst>
          </pc:spChg>
        </pc:sldLayoutChg>
        <pc:sldLayoutChg chg="addSp delSp modSp mod setBg">
          <pc:chgData name="Luca Ricci" userId="ee5f09d5-0832-4e68-94c9-d8bfd2ad04f0" providerId="ADAL" clId="{D501E5E2-574F-6542-B665-A334471D5578}" dt="2023-12-18T14:45:56.172" v="8481" actId="478"/>
          <pc:sldLayoutMkLst>
            <pc:docMk/>
            <pc:sldMasterMk cId="0" sldId="2147483715"/>
            <pc:sldLayoutMk cId="0" sldId="2147483735"/>
          </pc:sldLayoutMkLst>
          <pc:spChg chg="add del">
            <ac:chgData name="Luca Ricci" userId="ee5f09d5-0832-4e68-94c9-d8bfd2ad04f0" providerId="ADAL" clId="{D501E5E2-574F-6542-B665-A334471D5578}" dt="2023-12-18T09:08:54.812" v="685" actId="478"/>
            <ac:spMkLst>
              <pc:docMk/>
              <pc:sldMasterMk cId="0" sldId="2147483715"/>
              <pc:sldLayoutMk cId="0" sldId="2147483735"/>
              <ac:spMk id="7" creationId="{00000000-0000-0000-0000-000000000000}"/>
            </ac:spMkLst>
          </pc:spChg>
          <pc:spChg chg="mod">
            <ac:chgData name="Luca Ricci" userId="ee5f09d5-0832-4e68-94c9-d8bfd2ad04f0" providerId="ADAL" clId="{D501E5E2-574F-6542-B665-A334471D5578}" dt="2023-12-18T08:23:18.169" v="432"/>
            <ac:spMkLst>
              <pc:docMk/>
              <pc:sldMasterMk cId="0" sldId="2147483715"/>
              <pc:sldLayoutMk cId="0" sldId="2147483735"/>
              <ac:spMk id="19" creationId="{557CA6BF-F2F9-417F-A2FD-035F1FC85693}"/>
            </ac:spMkLst>
          </pc:spChg>
          <pc:spChg chg="del">
            <ac:chgData name="Luca Ricci" userId="ee5f09d5-0832-4e68-94c9-d8bfd2ad04f0" providerId="ADAL" clId="{D501E5E2-574F-6542-B665-A334471D5578}" dt="2023-12-18T14:45:56.172" v="8481" actId="478"/>
            <ac:spMkLst>
              <pc:docMk/>
              <pc:sldMasterMk cId="0" sldId="2147483715"/>
              <pc:sldLayoutMk cId="0" sldId="2147483735"/>
              <ac:spMk id="23" creationId="{4E82CE8C-8E20-4C1A-B65C-F8A30CF5A153}"/>
            </ac:spMkLst>
          </pc:spChg>
          <pc:spChg chg="del">
            <ac:chgData name="Luca Ricci" userId="ee5f09d5-0832-4e68-94c9-d8bfd2ad04f0" providerId="ADAL" clId="{D501E5E2-574F-6542-B665-A334471D5578}" dt="2023-12-18T09:08:58.473" v="686" actId="478"/>
            <ac:spMkLst>
              <pc:docMk/>
              <pc:sldMasterMk cId="0" sldId="2147483715"/>
              <pc:sldLayoutMk cId="0" sldId="2147483735"/>
              <ac:spMk id="25" creationId="{D96F0A90-37BC-4B0D-A29D-8711C51DD447}"/>
            </ac:spMkLst>
          </pc:spChg>
        </pc:sldLayoutChg>
        <pc:sldLayoutChg chg="delSp modSp mod setBg">
          <pc:chgData name="Luca Ricci" userId="ee5f09d5-0832-4e68-94c9-d8bfd2ad04f0" providerId="ADAL" clId="{D501E5E2-574F-6542-B665-A334471D5578}" dt="2023-12-18T14:45:59.940" v="8482" actId="478"/>
          <pc:sldLayoutMkLst>
            <pc:docMk/>
            <pc:sldMasterMk cId="0" sldId="2147483715"/>
            <pc:sldLayoutMk cId="0" sldId="2147483736"/>
          </pc:sldLayoutMkLst>
          <pc:spChg chg="mod">
            <ac:chgData name="Luca Ricci" userId="ee5f09d5-0832-4e68-94c9-d8bfd2ad04f0" providerId="ADAL" clId="{D501E5E2-574F-6542-B665-A334471D5578}" dt="2023-12-18T08:23:22.171" v="433"/>
            <ac:spMkLst>
              <pc:docMk/>
              <pc:sldMasterMk cId="0" sldId="2147483715"/>
              <pc:sldLayoutMk cId="0" sldId="2147483736"/>
              <ac:spMk id="20" creationId="{C492E0D9-97C5-4A27-B585-4460769C4D67}"/>
            </ac:spMkLst>
          </pc:spChg>
          <pc:spChg chg="del">
            <ac:chgData name="Luca Ricci" userId="ee5f09d5-0832-4e68-94c9-d8bfd2ad04f0" providerId="ADAL" clId="{D501E5E2-574F-6542-B665-A334471D5578}" dt="2023-12-18T14:45:59.940" v="8482" actId="478"/>
            <ac:spMkLst>
              <pc:docMk/>
              <pc:sldMasterMk cId="0" sldId="2147483715"/>
              <pc:sldLayoutMk cId="0" sldId="2147483736"/>
              <ac:spMk id="24" creationId="{D547197E-1EC3-47AA-B644-4B7771421A2B}"/>
            </ac:spMkLst>
          </pc:spChg>
          <pc:spChg chg="del">
            <ac:chgData name="Luca Ricci" userId="ee5f09d5-0832-4e68-94c9-d8bfd2ad04f0" providerId="ADAL" clId="{D501E5E2-574F-6542-B665-A334471D5578}" dt="2023-12-18T09:09:02.519" v="687" actId="478"/>
            <ac:spMkLst>
              <pc:docMk/>
              <pc:sldMasterMk cId="0" sldId="2147483715"/>
              <pc:sldLayoutMk cId="0" sldId="2147483736"/>
              <ac:spMk id="26" creationId="{5B4084F1-8114-4C22-84F5-3D14817A7904}"/>
            </ac:spMkLst>
          </pc:spChg>
        </pc:sldLayoutChg>
        <pc:sldLayoutChg chg="delSp modSp mod setBg">
          <pc:chgData name="Luca Ricci" userId="ee5f09d5-0832-4e68-94c9-d8bfd2ad04f0" providerId="ADAL" clId="{D501E5E2-574F-6542-B665-A334471D5578}" dt="2023-12-18T14:46:02.746" v="8483" actId="478"/>
          <pc:sldLayoutMkLst>
            <pc:docMk/>
            <pc:sldMasterMk cId="0" sldId="2147483715"/>
            <pc:sldLayoutMk cId="0" sldId="2147483737"/>
          </pc:sldLayoutMkLst>
          <pc:spChg chg="mod">
            <ac:chgData name="Luca Ricci" userId="ee5f09d5-0832-4e68-94c9-d8bfd2ad04f0" providerId="ADAL" clId="{D501E5E2-574F-6542-B665-A334471D5578}" dt="2023-12-18T08:23:26.580" v="434"/>
            <ac:spMkLst>
              <pc:docMk/>
              <pc:sldMasterMk cId="0" sldId="2147483715"/>
              <pc:sldLayoutMk cId="0" sldId="2147483737"/>
              <ac:spMk id="9" creationId="{C33D0117-4C9D-47FC-BBAF-7D90814DB7C7}"/>
            </ac:spMkLst>
          </pc:spChg>
          <pc:spChg chg="del">
            <ac:chgData name="Luca Ricci" userId="ee5f09d5-0832-4e68-94c9-d8bfd2ad04f0" providerId="ADAL" clId="{D501E5E2-574F-6542-B665-A334471D5578}" dt="2023-12-18T14:46:02.746" v="8483" actId="478"/>
            <ac:spMkLst>
              <pc:docMk/>
              <pc:sldMasterMk cId="0" sldId="2147483715"/>
              <pc:sldLayoutMk cId="0" sldId="2147483737"/>
              <ac:spMk id="14" creationId="{B1D76006-023D-437E-80D1-B8FC83CA1329}"/>
            </ac:spMkLst>
          </pc:spChg>
          <pc:spChg chg="del">
            <ac:chgData name="Luca Ricci" userId="ee5f09d5-0832-4e68-94c9-d8bfd2ad04f0" providerId="ADAL" clId="{D501E5E2-574F-6542-B665-A334471D5578}" dt="2023-12-18T09:09:06.225" v="688" actId="478"/>
            <ac:spMkLst>
              <pc:docMk/>
              <pc:sldMasterMk cId="0" sldId="2147483715"/>
              <pc:sldLayoutMk cId="0" sldId="2147483737"/>
              <ac:spMk id="26" creationId="{71DC81B7-1CCA-48F9-8AB9-34BBC16340CF}"/>
            </ac:spMkLst>
          </pc:spChg>
        </pc:sldLayoutChg>
        <pc:sldLayoutChg chg="delSp modSp mod setBg">
          <pc:chgData name="Luca Ricci" userId="ee5f09d5-0832-4e68-94c9-d8bfd2ad04f0" providerId="ADAL" clId="{D501E5E2-574F-6542-B665-A334471D5578}" dt="2023-12-18T14:46:05.669" v="8484" actId="478"/>
          <pc:sldLayoutMkLst>
            <pc:docMk/>
            <pc:sldMasterMk cId="0" sldId="2147483715"/>
            <pc:sldLayoutMk cId="0" sldId="2147483738"/>
          </pc:sldLayoutMkLst>
          <pc:spChg chg="mod">
            <ac:chgData name="Luca Ricci" userId="ee5f09d5-0832-4e68-94c9-d8bfd2ad04f0" providerId="ADAL" clId="{D501E5E2-574F-6542-B665-A334471D5578}" dt="2023-12-18T08:23:30.813" v="435"/>
            <ac:spMkLst>
              <pc:docMk/>
              <pc:sldMasterMk cId="0" sldId="2147483715"/>
              <pc:sldLayoutMk cId="0" sldId="2147483738"/>
              <ac:spMk id="9" creationId="{2A98BB16-D9CD-4785-A71C-21C57A554883}"/>
            </ac:spMkLst>
          </pc:spChg>
          <pc:spChg chg="del">
            <ac:chgData name="Luca Ricci" userId="ee5f09d5-0832-4e68-94c9-d8bfd2ad04f0" providerId="ADAL" clId="{D501E5E2-574F-6542-B665-A334471D5578}" dt="2023-12-18T14:46:05.669" v="8484" actId="478"/>
            <ac:spMkLst>
              <pc:docMk/>
              <pc:sldMasterMk cId="0" sldId="2147483715"/>
              <pc:sldLayoutMk cId="0" sldId="2147483738"/>
              <ac:spMk id="11" creationId="{DBAA7875-DC7B-4CB1-AFAA-A99AEDD01BF7}"/>
            </ac:spMkLst>
          </pc:spChg>
          <pc:spChg chg="del">
            <ac:chgData name="Luca Ricci" userId="ee5f09d5-0832-4e68-94c9-d8bfd2ad04f0" providerId="ADAL" clId="{D501E5E2-574F-6542-B665-A334471D5578}" dt="2023-12-18T09:09:10.312" v="689" actId="478"/>
            <ac:spMkLst>
              <pc:docMk/>
              <pc:sldMasterMk cId="0" sldId="2147483715"/>
              <pc:sldLayoutMk cId="0" sldId="2147483738"/>
              <ac:spMk id="15" creationId="{5743D8EF-9336-4669-BBD9-501D062A3DB4}"/>
            </ac:spMkLst>
          </pc:spChg>
        </pc:sldLayoutChg>
        <pc:sldLayoutChg chg="delSp modSp mod setBg">
          <pc:chgData name="Luca Ricci" userId="ee5f09d5-0832-4e68-94c9-d8bfd2ad04f0" providerId="ADAL" clId="{D501E5E2-574F-6542-B665-A334471D5578}" dt="2023-12-18T14:46:08.319" v="8485" actId="478"/>
          <pc:sldLayoutMkLst>
            <pc:docMk/>
            <pc:sldMasterMk cId="0" sldId="2147483715"/>
            <pc:sldLayoutMk cId="0" sldId="2147483739"/>
          </pc:sldLayoutMkLst>
          <pc:spChg chg="mod">
            <ac:chgData name="Luca Ricci" userId="ee5f09d5-0832-4e68-94c9-d8bfd2ad04f0" providerId="ADAL" clId="{D501E5E2-574F-6542-B665-A334471D5578}" dt="2023-12-18T08:24:39.544" v="438"/>
            <ac:spMkLst>
              <pc:docMk/>
              <pc:sldMasterMk cId="0" sldId="2147483715"/>
              <pc:sldLayoutMk cId="0" sldId="2147483739"/>
              <ac:spMk id="16" creationId="{4E03D739-7852-4964-A407-6FD3B0FC1EEE}"/>
            </ac:spMkLst>
          </pc:spChg>
          <pc:spChg chg="del">
            <ac:chgData name="Luca Ricci" userId="ee5f09d5-0832-4e68-94c9-d8bfd2ad04f0" providerId="ADAL" clId="{D501E5E2-574F-6542-B665-A334471D5578}" dt="2023-12-18T14:46:08.319" v="8485" actId="478"/>
            <ac:spMkLst>
              <pc:docMk/>
              <pc:sldMasterMk cId="0" sldId="2147483715"/>
              <pc:sldLayoutMk cId="0" sldId="2147483739"/>
              <ac:spMk id="20" creationId="{35CA1B3C-86AD-43CD-94E9-5A2E81B7D24E}"/>
            </ac:spMkLst>
          </pc:spChg>
          <pc:spChg chg="del">
            <ac:chgData name="Luca Ricci" userId="ee5f09d5-0832-4e68-94c9-d8bfd2ad04f0" providerId="ADAL" clId="{D501E5E2-574F-6542-B665-A334471D5578}" dt="2023-12-18T09:09:14.263" v="690" actId="478"/>
            <ac:spMkLst>
              <pc:docMk/>
              <pc:sldMasterMk cId="0" sldId="2147483715"/>
              <pc:sldLayoutMk cId="0" sldId="2147483739"/>
              <ac:spMk id="22" creationId="{8E11CE1F-6424-469C-8957-85A359561FBF}"/>
            </ac:spMkLst>
          </pc:spChg>
        </pc:sldLayoutChg>
        <pc:sldLayoutChg chg="addSp delSp modSp mod setBg">
          <pc:chgData name="Luca Ricci" userId="ee5f09d5-0832-4e68-94c9-d8bfd2ad04f0" providerId="ADAL" clId="{D501E5E2-574F-6542-B665-A334471D5578}" dt="2023-12-18T14:45:26.254" v="8472" actId="478"/>
          <pc:sldLayoutMkLst>
            <pc:docMk/>
            <pc:sldMasterMk cId="0" sldId="2147483715"/>
            <pc:sldLayoutMk cId="455361232" sldId="2147483744"/>
          </pc:sldLayoutMkLst>
          <pc:spChg chg="add mod">
            <ac:chgData name="Luca Ricci" userId="ee5f09d5-0832-4e68-94c9-d8bfd2ad04f0" providerId="ADAL" clId="{D501E5E2-574F-6542-B665-A334471D5578}" dt="2023-12-18T14:40:00.704" v="8420" actId="1076"/>
            <ac:spMkLst>
              <pc:docMk/>
              <pc:sldMasterMk cId="0" sldId="2147483715"/>
              <pc:sldLayoutMk cId="455361232" sldId="2147483744"/>
              <ac:spMk id="5" creationId="{8E517925-1E1F-5C49-CCDA-9974E75078DA}"/>
            </ac:spMkLst>
          </pc:spChg>
          <pc:spChg chg="del">
            <ac:chgData name="Luca Ricci" userId="ee5f09d5-0832-4e68-94c9-d8bfd2ad04f0" providerId="ADAL" clId="{D501E5E2-574F-6542-B665-A334471D5578}" dt="2023-12-18T14:45:26.254" v="8472" actId="478"/>
            <ac:spMkLst>
              <pc:docMk/>
              <pc:sldMasterMk cId="0" sldId="2147483715"/>
              <pc:sldLayoutMk cId="455361232" sldId="2147483744"/>
              <ac:spMk id="10" creationId="{2D16A7B9-CA23-4C66-B2AF-3682EAAE8159}"/>
            </ac:spMkLst>
          </pc:spChg>
          <pc:spChg chg="del">
            <ac:chgData name="Luca Ricci" userId="ee5f09d5-0832-4e68-94c9-d8bfd2ad04f0" providerId="ADAL" clId="{D501E5E2-574F-6542-B665-A334471D5578}" dt="2023-12-18T08:40:35.169" v="472" actId="478"/>
            <ac:spMkLst>
              <pc:docMk/>
              <pc:sldMasterMk cId="0" sldId="2147483715"/>
              <pc:sldLayoutMk cId="455361232" sldId="2147483744"/>
              <ac:spMk id="23" creationId="{5805FCC4-D045-0733-8C95-81CAFF95804B}"/>
            </ac:spMkLst>
          </pc:spChg>
          <pc:picChg chg="add mod">
            <ac:chgData name="Luca Ricci" userId="ee5f09d5-0832-4e68-94c9-d8bfd2ad04f0" providerId="ADAL" clId="{D501E5E2-574F-6542-B665-A334471D5578}" dt="2023-12-18T08:13:22.537" v="8" actId="14100"/>
            <ac:picMkLst>
              <pc:docMk/>
              <pc:sldMasterMk cId="0" sldId="2147483715"/>
              <pc:sldLayoutMk cId="455361232" sldId="2147483744"/>
              <ac:picMk id="4" creationId="{605D435E-1749-4D7C-922C-B8AA23F4AC2D}"/>
            </ac:picMkLst>
          </pc:picChg>
          <pc:picChg chg="del mod">
            <ac:chgData name="Luca Ricci" userId="ee5f09d5-0832-4e68-94c9-d8bfd2ad04f0" providerId="ADAL" clId="{D501E5E2-574F-6542-B665-A334471D5578}" dt="2023-12-18T08:13:16.633" v="5" actId="478"/>
            <ac:picMkLst>
              <pc:docMk/>
              <pc:sldMasterMk cId="0" sldId="2147483715"/>
              <pc:sldLayoutMk cId="455361232" sldId="2147483744"/>
              <ac:picMk id="20" creationId="{92DC6926-96FF-4BB1-823E-5F2FFE796E76}"/>
            </ac:picMkLst>
          </pc:picChg>
        </pc:sldLayoutChg>
        <pc:sldLayoutChg chg="modSp mod setBg">
          <pc:chgData name="Luca Ricci" userId="ee5f09d5-0832-4e68-94c9-d8bfd2ad04f0" providerId="ADAL" clId="{D501E5E2-574F-6542-B665-A334471D5578}" dt="2023-12-18T08:37:40.397" v="460" actId="207"/>
          <pc:sldLayoutMkLst>
            <pc:docMk/>
            <pc:sldMasterMk cId="0" sldId="2147483715"/>
            <pc:sldLayoutMk cId="987074326" sldId="2147483747"/>
          </pc:sldLayoutMkLst>
          <pc:spChg chg="mod">
            <ac:chgData name="Luca Ricci" userId="ee5f09d5-0832-4e68-94c9-d8bfd2ad04f0" providerId="ADAL" clId="{D501E5E2-574F-6542-B665-A334471D5578}" dt="2023-12-18T08:37:40.397" v="460" actId="207"/>
            <ac:spMkLst>
              <pc:docMk/>
              <pc:sldMasterMk cId="0" sldId="2147483715"/>
              <pc:sldLayoutMk cId="987074326" sldId="2147483747"/>
              <ac:spMk id="2" creationId="{3FBBF7BF-BA7F-647C-39AB-CEDA0092AA91}"/>
            </ac:spMkLst>
          </pc:spChg>
        </pc:sldLayoutChg>
        <pc:sldLayoutChg chg="delSp mod">
          <pc:chgData name="Luca Ricci" userId="ee5f09d5-0832-4e68-94c9-d8bfd2ad04f0" providerId="ADAL" clId="{D501E5E2-574F-6542-B665-A334471D5578}" dt="2023-12-18T14:45:22.447" v="8471" actId="478"/>
          <pc:sldLayoutMkLst>
            <pc:docMk/>
            <pc:sldMasterMk cId="0" sldId="2147483715"/>
            <pc:sldLayoutMk cId="2281391533" sldId="2147483751"/>
          </pc:sldLayoutMkLst>
          <pc:spChg chg="del">
            <ac:chgData name="Luca Ricci" userId="ee5f09d5-0832-4e68-94c9-d8bfd2ad04f0" providerId="ADAL" clId="{D501E5E2-574F-6542-B665-A334471D5578}" dt="2023-12-18T14:45:22.447" v="8471" actId="478"/>
            <ac:spMkLst>
              <pc:docMk/>
              <pc:sldMasterMk cId="0" sldId="2147483715"/>
              <pc:sldLayoutMk cId="2281391533" sldId="2147483751"/>
              <ac:spMk id="9" creationId="{F2A69E30-B66A-4640-A0FD-5D2C3EE160B0}"/>
            </ac:spMkLst>
          </pc:spChg>
          <pc:picChg chg="del">
            <ac:chgData name="Luca Ricci" userId="ee5f09d5-0832-4e68-94c9-d8bfd2ad04f0" providerId="ADAL" clId="{D501E5E2-574F-6542-B665-A334471D5578}" dt="2023-12-18T09:16:48.020" v="756" actId="478"/>
            <ac:picMkLst>
              <pc:docMk/>
              <pc:sldMasterMk cId="0" sldId="2147483715"/>
              <pc:sldLayoutMk cId="2281391533" sldId="2147483751"/>
              <ac:picMk id="13" creationId="{14B40D43-B16A-95C2-5897-59812263EA21}"/>
            </ac:picMkLst>
          </pc:picChg>
        </pc:sldLayoutChg>
        <pc:sldLayoutChg chg="addSp delSp modSp mod setBg">
          <pc:chgData name="Luca Ricci" userId="ee5f09d5-0832-4e68-94c9-d8bfd2ad04f0" providerId="ADAL" clId="{D501E5E2-574F-6542-B665-A334471D5578}" dt="2023-12-18T18:14:45.046" v="11027" actId="20577"/>
          <pc:sldLayoutMkLst>
            <pc:docMk/>
            <pc:sldMasterMk cId="0" sldId="2147483715"/>
            <pc:sldLayoutMk cId="197727015" sldId="2147483753"/>
          </pc:sldLayoutMkLst>
          <pc:spChg chg="add del">
            <ac:chgData name="Luca Ricci" userId="ee5f09d5-0832-4e68-94c9-d8bfd2ad04f0" providerId="ADAL" clId="{D501E5E2-574F-6542-B665-A334471D5578}" dt="2023-12-18T10:45:20.801" v="5452" actId="11529"/>
            <ac:spMkLst>
              <pc:docMk/>
              <pc:sldMasterMk cId="0" sldId="2147483715"/>
              <pc:sldLayoutMk cId="197727015" sldId="2147483753"/>
              <ac:spMk id="3" creationId="{5F908CE4-3C1E-1693-1D32-7E70BFD09BDB}"/>
            </ac:spMkLst>
          </pc:spChg>
          <pc:spChg chg="add del mod">
            <ac:chgData name="Luca Ricci" userId="ee5f09d5-0832-4e68-94c9-d8bfd2ad04f0" providerId="ADAL" clId="{D501E5E2-574F-6542-B665-A334471D5578}" dt="2023-12-18T11:01:04.276" v="6436" actId="478"/>
            <ac:spMkLst>
              <pc:docMk/>
              <pc:sldMasterMk cId="0" sldId="2147483715"/>
              <pc:sldLayoutMk cId="197727015" sldId="2147483753"/>
              <ac:spMk id="5" creationId="{67EA891B-5AAB-31DF-A6C1-A05663215303}"/>
            </ac:spMkLst>
          </pc:spChg>
          <pc:spChg chg="add del">
            <ac:chgData name="Luca Ricci" userId="ee5f09d5-0832-4e68-94c9-d8bfd2ad04f0" providerId="ADAL" clId="{D501E5E2-574F-6542-B665-A334471D5578}" dt="2023-12-18T11:00:38.887" v="6417"/>
            <ac:spMkLst>
              <pc:docMk/>
              <pc:sldMasterMk cId="0" sldId="2147483715"/>
              <pc:sldLayoutMk cId="197727015" sldId="2147483753"/>
              <ac:spMk id="8" creationId="{087EFA22-3F6E-4210-A8FC-0864CD1DE4EF}"/>
            </ac:spMkLst>
          </pc:spChg>
          <pc:spChg chg="add del">
            <ac:chgData name="Luca Ricci" userId="ee5f09d5-0832-4e68-94c9-d8bfd2ad04f0" providerId="ADAL" clId="{D501E5E2-574F-6542-B665-A334471D5578}" dt="2023-12-18T10:50:22.675" v="5925" actId="11529"/>
            <ac:spMkLst>
              <pc:docMk/>
              <pc:sldMasterMk cId="0" sldId="2147483715"/>
              <pc:sldLayoutMk cId="197727015" sldId="2147483753"/>
              <ac:spMk id="9" creationId="{DD0CEFA3-953D-A256-B8C2-D5C8A75743F0}"/>
            </ac:spMkLst>
          </pc:spChg>
          <pc:spChg chg="del mod">
            <ac:chgData name="Luca Ricci" userId="ee5f09d5-0832-4e68-94c9-d8bfd2ad04f0" providerId="ADAL" clId="{D501E5E2-574F-6542-B665-A334471D5578}" dt="2023-12-18T10:45:23.530" v="5454" actId="478"/>
            <ac:spMkLst>
              <pc:docMk/>
              <pc:sldMasterMk cId="0" sldId="2147483715"/>
              <pc:sldLayoutMk cId="197727015" sldId="2147483753"/>
              <ac:spMk id="10" creationId="{8739B1C3-A1A6-48E1-B2C4-F4CE3C824436}"/>
            </ac:spMkLst>
          </pc:spChg>
          <pc:spChg chg="add del mod">
            <ac:chgData name="Luca Ricci" userId="ee5f09d5-0832-4e68-94c9-d8bfd2ad04f0" providerId="ADAL" clId="{D501E5E2-574F-6542-B665-A334471D5578}" dt="2023-12-18T10:51:01.145" v="5931" actId="478"/>
            <ac:spMkLst>
              <pc:docMk/>
              <pc:sldMasterMk cId="0" sldId="2147483715"/>
              <pc:sldLayoutMk cId="197727015" sldId="2147483753"/>
              <ac:spMk id="11" creationId="{725956B1-3EF4-88B9-F6B3-A8F5AC36B792}"/>
            </ac:spMkLst>
          </pc:spChg>
          <pc:spChg chg="add del">
            <ac:chgData name="Luca Ricci" userId="ee5f09d5-0832-4e68-94c9-d8bfd2ad04f0" providerId="ADAL" clId="{D501E5E2-574F-6542-B665-A334471D5578}" dt="2023-12-18T11:00:38.887" v="6417"/>
            <ac:spMkLst>
              <pc:docMk/>
              <pc:sldMasterMk cId="0" sldId="2147483715"/>
              <pc:sldLayoutMk cId="197727015" sldId="2147483753"/>
              <ac:spMk id="14" creationId="{BDF262C8-30D5-474A-BD81-CA14ACCE51B5}"/>
            </ac:spMkLst>
          </pc:spChg>
          <pc:spChg chg="add del">
            <ac:chgData name="Luca Ricci" userId="ee5f09d5-0832-4e68-94c9-d8bfd2ad04f0" providerId="ADAL" clId="{D501E5E2-574F-6542-B665-A334471D5578}" dt="2023-12-18T11:00:38.887" v="6417"/>
            <ac:spMkLst>
              <pc:docMk/>
              <pc:sldMasterMk cId="0" sldId="2147483715"/>
              <pc:sldLayoutMk cId="197727015" sldId="2147483753"/>
              <ac:spMk id="15" creationId="{3F1C5DF9-A781-4661-8C3B-816A398ADFDD}"/>
            </ac:spMkLst>
          </pc:spChg>
          <pc:spChg chg="add del mod">
            <ac:chgData name="Luca Ricci" userId="ee5f09d5-0832-4e68-94c9-d8bfd2ad04f0" providerId="ADAL" clId="{D501E5E2-574F-6542-B665-A334471D5578}" dt="2023-12-18T11:01:08.413" v="6437" actId="478"/>
            <ac:spMkLst>
              <pc:docMk/>
              <pc:sldMasterMk cId="0" sldId="2147483715"/>
              <pc:sldLayoutMk cId="197727015" sldId="2147483753"/>
              <ac:spMk id="16" creationId="{7D277D05-EC8B-E405-337A-B6C1799834DA}"/>
            </ac:spMkLst>
          </pc:spChg>
          <pc:spChg chg="add del mod">
            <ac:chgData name="Luca Ricci" userId="ee5f09d5-0832-4e68-94c9-d8bfd2ad04f0" providerId="ADAL" clId="{D501E5E2-574F-6542-B665-A334471D5578}" dt="2023-12-18T11:00:40.998" v="6420" actId="767"/>
            <ac:spMkLst>
              <pc:docMk/>
              <pc:sldMasterMk cId="0" sldId="2147483715"/>
              <pc:sldLayoutMk cId="197727015" sldId="2147483753"/>
              <ac:spMk id="17" creationId="{57CCE7A6-D1F5-0782-EEAD-EBB4D456EA7D}"/>
            </ac:spMkLst>
          </pc:spChg>
          <pc:spChg chg="add del mod">
            <ac:chgData name="Luca Ricci" userId="ee5f09d5-0832-4e68-94c9-d8bfd2ad04f0" providerId="ADAL" clId="{D501E5E2-574F-6542-B665-A334471D5578}" dt="2023-12-18T11:00:39.716" v="6418"/>
            <ac:spMkLst>
              <pc:docMk/>
              <pc:sldMasterMk cId="0" sldId="2147483715"/>
              <pc:sldLayoutMk cId="197727015" sldId="2147483753"/>
              <ac:spMk id="18" creationId="{4CF1AA7D-4D66-3838-5AC1-639CD46D2E94}"/>
            </ac:spMkLst>
          </pc:spChg>
          <pc:spChg chg="add del">
            <ac:chgData name="Luca Ricci" userId="ee5f09d5-0832-4e68-94c9-d8bfd2ad04f0" providerId="ADAL" clId="{D501E5E2-574F-6542-B665-A334471D5578}" dt="2023-12-18T11:02:55.568" v="6439" actId="11529"/>
            <ac:spMkLst>
              <pc:docMk/>
              <pc:sldMasterMk cId="0" sldId="2147483715"/>
              <pc:sldLayoutMk cId="197727015" sldId="2147483753"/>
              <ac:spMk id="19" creationId="{9EF0997F-61F0-856B-F747-9B40F4BD4DBB}"/>
            </ac:spMkLst>
          </pc:spChg>
          <pc:spChg chg="add del mod">
            <ac:chgData name="Luca Ricci" userId="ee5f09d5-0832-4e68-94c9-d8bfd2ad04f0" providerId="ADAL" clId="{D501E5E2-574F-6542-B665-A334471D5578}" dt="2023-12-18T11:02:58.174" v="6440" actId="478"/>
            <ac:spMkLst>
              <pc:docMk/>
              <pc:sldMasterMk cId="0" sldId="2147483715"/>
              <pc:sldLayoutMk cId="197727015" sldId="2147483753"/>
              <ac:spMk id="20" creationId="{6144D6CA-4E49-2E44-5435-A583B2C21456}"/>
            </ac:spMkLst>
          </pc:spChg>
          <pc:spChg chg="add del mod">
            <ac:chgData name="Luca Ricci" userId="ee5f09d5-0832-4e68-94c9-d8bfd2ad04f0" providerId="ADAL" clId="{D501E5E2-574F-6542-B665-A334471D5578}" dt="2023-12-18T11:03:09.929" v="6443"/>
            <ac:spMkLst>
              <pc:docMk/>
              <pc:sldMasterMk cId="0" sldId="2147483715"/>
              <pc:sldLayoutMk cId="197727015" sldId="2147483753"/>
              <ac:spMk id="21" creationId="{3A689652-2D68-C2EE-E5F1-6F306F813244}"/>
            </ac:spMkLst>
          </pc:spChg>
          <pc:spChg chg="add del mod">
            <ac:chgData name="Luca Ricci" userId="ee5f09d5-0832-4e68-94c9-d8bfd2ad04f0" providerId="ADAL" clId="{D501E5E2-574F-6542-B665-A334471D5578}" dt="2023-12-18T11:03:40.945" v="6447"/>
            <ac:spMkLst>
              <pc:docMk/>
              <pc:sldMasterMk cId="0" sldId="2147483715"/>
              <pc:sldLayoutMk cId="197727015" sldId="2147483753"/>
              <ac:spMk id="22" creationId="{9B543D5A-7FBE-DC3D-E5B2-6E1E9147E9DA}"/>
            </ac:spMkLst>
          </pc:spChg>
          <pc:spChg chg="add mod">
            <ac:chgData name="Luca Ricci" userId="ee5f09d5-0832-4e68-94c9-d8bfd2ad04f0" providerId="ADAL" clId="{D501E5E2-574F-6542-B665-A334471D5578}" dt="2023-12-18T11:14:00.329" v="6976" actId="1076"/>
            <ac:spMkLst>
              <pc:docMk/>
              <pc:sldMasterMk cId="0" sldId="2147483715"/>
              <pc:sldLayoutMk cId="197727015" sldId="2147483753"/>
              <ac:spMk id="23" creationId="{2B85AA65-668F-A760-0BF5-086383CCE0F2}"/>
            </ac:spMkLst>
          </pc:spChg>
          <pc:spChg chg="add mod">
            <ac:chgData name="Luca Ricci" userId="ee5f09d5-0832-4e68-94c9-d8bfd2ad04f0" providerId="ADAL" clId="{D501E5E2-574F-6542-B665-A334471D5578}" dt="2023-12-18T18:14:45.046" v="11027" actId="20577"/>
            <ac:spMkLst>
              <pc:docMk/>
              <pc:sldMasterMk cId="0" sldId="2147483715"/>
              <pc:sldLayoutMk cId="197727015" sldId="2147483753"/>
              <ac:spMk id="25" creationId="{E19F9FB8-5294-E57F-CBFE-D1A6B4048FC7}"/>
            </ac:spMkLst>
          </pc:spChg>
          <pc:spChg chg="add del mod">
            <ac:chgData name="Luca Ricci" userId="ee5f09d5-0832-4e68-94c9-d8bfd2ad04f0" providerId="ADAL" clId="{D501E5E2-574F-6542-B665-A334471D5578}" dt="2023-12-18T11:10:35.382" v="6874" actId="478"/>
            <ac:spMkLst>
              <pc:docMk/>
              <pc:sldMasterMk cId="0" sldId="2147483715"/>
              <pc:sldLayoutMk cId="197727015" sldId="2147483753"/>
              <ac:spMk id="26" creationId="{AB750963-3A2A-DD81-A710-AA03AFC7452E}"/>
            </ac:spMkLst>
          </pc:spChg>
          <pc:spChg chg="add mod">
            <ac:chgData name="Luca Ricci" userId="ee5f09d5-0832-4e68-94c9-d8bfd2ad04f0" providerId="ADAL" clId="{D501E5E2-574F-6542-B665-A334471D5578}" dt="2023-12-18T13:42:59.504" v="7553" actId="1076"/>
            <ac:spMkLst>
              <pc:docMk/>
              <pc:sldMasterMk cId="0" sldId="2147483715"/>
              <pc:sldLayoutMk cId="197727015" sldId="2147483753"/>
              <ac:spMk id="27" creationId="{F5CEC03E-16AB-863B-452B-4B4C8B54FE14}"/>
            </ac:spMkLst>
          </pc:spChg>
          <pc:picChg chg="del mod">
            <ac:chgData name="Luca Ricci" userId="ee5f09d5-0832-4e68-94c9-d8bfd2ad04f0" providerId="ADAL" clId="{D501E5E2-574F-6542-B665-A334471D5578}" dt="2023-12-18T11:02:29.550" v="6438" actId="21"/>
            <ac:picMkLst>
              <pc:docMk/>
              <pc:sldMasterMk cId="0" sldId="2147483715"/>
              <pc:sldLayoutMk cId="197727015" sldId="2147483753"/>
              <ac:picMk id="4" creationId="{1D664F82-C381-42D9-B168-31F6D4282D28}"/>
            </ac:picMkLst>
          </pc:picChg>
          <pc:picChg chg="add mod">
            <ac:chgData name="Luca Ricci" userId="ee5f09d5-0832-4e68-94c9-d8bfd2ad04f0" providerId="ADAL" clId="{D501E5E2-574F-6542-B665-A334471D5578}" dt="2023-12-18T11:14:32.239" v="6982" actId="1076"/>
            <ac:picMkLst>
              <pc:docMk/>
              <pc:sldMasterMk cId="0" sldId="2147483715"/>
              <pc:sldLayoutMk cId="197727015" sldId="2147483753"/>
              <ac:picMk id="24" creationId="{DF98B2F7-BEAF-17E3-0C2E-7C9AB8F8F641}"/>
            </ac:picMkLst>
          </pc:picChg>
        </pc:sldLayoutChg>
        <pc:sldLayoutChg chg="setBg">
          <pc:chgData name="Luca Ricci" userId="ee5f09d5-0832-4e68-94c9-d8bfd2ad04f0" providerId="ADAL" clId="{D501E5E2-574F-6542-B665-A334471D5578}" dt="2023-12-18T08:29:40.456" v="455"/>
          <pc:sldLayoutMkLst>
            <pc:docMk/>
            <pc:sldMasterMk cId="0" sldId="2147483715"/>
            <pc:sldLayoutMk cId="3943257007" sldId="2147483754"/>
          </pc:sldLayoutMkLst>
        </pc:sldLayoutChg>
        <pc:sldLayoutChg chg="delSp mod">
          <pc:chgData name="Luca Ricci" userId="ee5f09d5-0832-4e68-94c9-d8bfd2ad04f0" providerId="ADAL" clId="{D501E5E2-574F-6542-B665-A334471D5578}" dt="2023-12-18T14:45:29.905" v="8473" actId="478"/>
          <pc:sldLayoutMkLst>
            <pc:docMk/>
            <pc:sldMasterMk cId="0" sldId="2147483715"/>
            <pc:sldLayoutMk cId="4192423285" sldId="2147483755"/>
          </pc:sldLayoutMkLst>
          <pc:spChg chg="del">
            <ac:chgData name="Luca Ricci" userId="ee5f09d5-0832-4e68-94c9-d8bfd2ad04f0" providerId="ADAL" clId="{D501E5E2-574F-6542-B665-A334471D5578}" dt="2023-12-18T14:45:29.905" v="8473" actId="478"/>
            <ac:spMkLst>
              <pc:docMk/>
              <pc:sldMasterMk cId="0" sldId="2147483715"/>
              <pc:sldLayoutMk cId="4192423285" sldId="2147483755"/>
              <ac:spMk id="9" creationId="{2E1A11AC-1395-4E21-827C-BF03F1350E73}"/>
            </ac:spMkLst>
          </pc:spChg>
          <pc:picChg chg="del">
            <ac:chgData name="Luca Ricci" userId="ee5f09d5-0832-4e68-94c9-d8bfd2ad04f0" providerId="ADAL" clId="{D501E5E2-574F-6542-B665-A334471D5578}" dt="2023-12-18T09:16:51.552" v="757" actId="478"/>
            <ac:picMkLst>
              <pc:docMk/>
              <pc:sldMasterMk cId="0" sldId="2147483715"/>
              <pc:sldLayoutMk cId="4192423285" sldId="2147483755"/>
              <ac:picMk id="14" creationId="{FDF9E41B-77CF-35CD-755A-23A3817718CA}"/>
            </ac:picMkLst>
          </pc:picChg>
        </pc:sldLayoutChg>
        <pc:sldLayoutChg chg="modSp mod setBg">
          <pc:chgData name="Luca Ricci" userId="ee5f09d5-0832-4e68-94c9-d8bfd2ad04f0" providerId="ADAL" clId="{D501E5E2-574F-6542-B665-A334471D5578}" dt="2023-12-18T08:38:20.598" v="465" actId="14100"/>
          <pc:sldLayoutMkLst>
            <pc:docMk/>
            <pc:sldMasterMk cId="0" sldId="2147483715"/>
            <pc:sldLayoutMk cId="114647271" sldId="2147483756"/>
          </pc:sldLayoutMkLst>
          <pc:spChg chg="mod">
            <ac:chgData name="Luca Ricci" userId="ee5f09d5-0832-4e68-94c9-d8bfd2ad04f0" providerId="ADAL" clId="{D501E5E2-574F-6542-B665-A334471D5578}" dt="2023-12-18T08:37:46.075" v="461" actId="207"/>
            <ac:spMkLst>
              <pc:docMk/>
              <pc:sldMasterMk cId="0" sldId="2147483715"/>
              <pc:sldLayoutMk cId="114647271" sldId="2147483756"/>
              <ac:spMk id="16" creationId="{63F28C96-D1D9-271E-B326-A1C4DC6BC78F}"/>
            </ac:spMkLst>
          </pc:spChg>
          <pc:picChg chg="mod">
            <ac:chgData name="Luca Ricci" userId="ee5f09d5-0832-4e68-94c9-d8bfd2ad04f0" providerId="ADAL" clId="{D501E5E2-574F-6542-B665-A334471D5578}" dt="2023-12-18T08:38:20.598" v="465" actId="14100"/>
            <ac:picMkLst>
              <pc:docMk/>
              <pc:sldMasterMk cId="0" sldId="2147483715"/>
              <pc:sldLayoutMk cId="114647271" sldId="2147483756"/>
              <ac:picMk id="14" creationId="{E2919660-0784-4B00-9836-7A6951590970}"/>
            </ac:picMkLst>
          </pc:picChg>
        </pc:sldLayoutChg>
        <pc:sldLayoutChg chg="del ord">
          <pc:chgData name="Luca Ricci" userId="ee5f09d5-0832-4e68-94c9-d8bfd2ad04f0" providerId="ADAL" clId="{D501E5E2-574F-6542-B665-A334471D5578}" dt="2023-12-18T11:03:35.750" v="6446" actId="2696"/>
          <pc:sldLayoutMkLst>
            <pc:docMk/>
            <pc:sldMasterMk cId="0" sldId="2147483715"/>
            <pc:sldLayoutMk cId="818623543" sldId="2147483757"/>
          </pc:sldLayoutMkLst>
        </pc:sldLayoutChg>
        <pc:sldLayoutChg chg="addSp delSp modSp mod setBg">
          <pc:chgData name="Luca Ricci" userId="ee5f09d5-0832-4e68-94c9-d8bfd2ad04f0" providerId="ADAL" clId="{D501E5E2-574F-6542-B665-A334471D5578}" dt="2023-12-18T09:00:45.695" v="481" actId="14826"/>
          <pc:sldLayoutMkLst>
            <pc:docMk/>
            <pc:sldMasterMk cId="0" sldId="2147483715"/>
            <pc:sldLayoutMk cId="4192423285" sldId="2147483757"/>
          </pc:sldLayoutMkLst>
          <pc:spChg chg="add mod">
            <ac:chgData name="Luca Ricci" userId="ee5f09d5-0832-4e68-94c9-d8bfd2ad04f0" providerId="ADAL" clId="{D501E5E2-574F-6542-B665-A334471D5578}" dt="2023-12-18T08:40:24.390" v="471" actId="14100"/>
            <ac:spMkLst>
              <pc:docMk/>
              <pc:sldMasterMk cId="0" sldId="2147483715"/>
              <pc:sldLayoutMk cId="4192423285" sldId="2147483757"/>
              <ac:spMk id="4" creationId="{F78FA4EE-1DD5-7407-0262-DA3A3C9AFF45}"/>
            </ac:spMkLst>
          </pc:spChg>
          <pc:spChg chg="add del mod">
            <ac:chgData name="Luca Ricci" userId="ee5f09d5-0832-4e68-94c9-d8bfd2ad04f0" providerId="ADAL" clId="{D501E5E2-574F-6542-B665-A334471D5578}" dt="2023-12-18T08:57:55.073" v="476" actId="478"/>
            <ac:spMkLst>
              <pc:docMk/>
              <pc:sldMasterMk cId="0" sldId="2147483715"/>
              <pc:sldLayoutMk cId="4192423285" sldId="2147483757"/>
              <ac:spMk id="12" creationId="{1AED7259-EB2D-36D9-A8B6-8D65CA8F23DB}"/>
            </ac:spMkLst>
          </pc:spChg>
          <pc:spChg chg="del mod">
            <ac:chgData name="Luca Ricci" userId="ee5f09d5-0832-4e68-94c9-d8bfd2ad04f0" providerId="ADAL" clId="{D501E5E2-574F-6542-B665-A334471D5578}" dt="2023-12-18T08:40:07.113" v="468" actId="478"/>
            <ac:spMkLst>
              <pc:docMk/>
              <pc:sldMasterMk cId="0" sldId="2147483715"/>
              <pc:sldLayoutMk cId="4192423285" sldId="2147483757"/>
              <ac:spMk id="27" creationId="{2B034C47-A659-3457-E1A7-79A7F521356A}"/>
            </ac:spMkLst>
          </pc:spChg>
          <pc:picChg chg="add mod">
            <ac:chgData name="Luca Ricci" userId="ee5f09d5-0832-4e68-94c9-d8bfd2ad04f0" providerId="ADAL" clId="{D501E5E2-574F-6542-B665-A334471D5578}" dt="2023-12-18T08:13:29.018" v="10"/>
            <ac:picMkLst>
              <pc:docMk/>
              <pc:sldMasterMk cId="0" sldId="2147483715"/>
              <pc:sldLayoutMk cId="4192423285" sldId="2147483757"/>
              <ac:picMk id="2" creationId="{C2AAC32F-0B7D-23A2-5C0D-7F4099862102}"/>
            </ac:picMkLst>
          </pc:picChg>
          <pc:picChg chg="add mod">
            <ac:chgData name="Luca Ricci" userId="ee5f09d5-0832-4e68-94c9-d8bfd2ad04f0" providerId="ADAL" clId="{D501E5E2-574F-6542-B665-A334471D5578}" dt="2023-12-18T09:00:45.695" v="481" actId="14826"/>
            <ac:picMkLst>
              <pc:docMk/>
              <pc:sldMasterMk cId="0" sldId="2147483715"/>
              <pc:sldLayoutMk cId="4192423285" sldId="2147483757"/>
              <ac:picMk id="14" creationId="{FDF9E41B-77CF-35CD-755A-23A3817718CA}"/>
            </ac:picMkLst>
          </pc:picChg>
          <pc:picChg chg="del">
            <ac:chgData name="Luca Ricci" userId="ee5f09d5-0832-4e68-94c9-d8bfd2ad04f0" providerId="ADAL" clId="{D501E5E2-574F-6542-B665-A334471D5578}" dt="2023-12-18T08:13:27.715" v="9" actId="478"/>
            <ac:picMkLst>
              <pc:docMk/>
              <pc:sldMasterMk cId="0" sldId="2147483715"/>
              <pc:sldLayoutMk cId="4192423285" sldId="2147483757"/>
              <ac:picMk id="20" creationId="{A2558C1A-A4CE-495C-941B-21CFE7DE6C24}"/>
            </ac:picMkLst>
          </pc:picChg>
        </pc:sldLayoutChg>
        <pc:sldLayoutChg chg="addSp delSp modSp mod setBg">
          <pc:chgData name="Luca Ricci" userId="ee5f09d5-0832-4e68-94c9-d8bfd2ad04f0" providerId="ADAL" clId="{D501E5E2-574F-6542-B665-A334471D5578}" dt="2023-12-18T09:13:03.054" v="697" actId="1076"/>
          <pc:sldLayoutMkLst>
            <pc:docMk/>
            <pc:sldMasterMk cId="0" sldId="2147483715"/>
            <pc:sldLayoutMk cId="2281391533" sldId="2147483758"/>
          </pc:sldLayoutMkLst>
          <pc:spChg chg="mod">
            <ac:chgData name="Luca Ricci" userId="ee5f09d5-0832-4e68-94c9-d8bfd2ad04f0" providerId="ADAL" clId="{D501E5E2-574F-6542-B665-A334471D5578}" dt="2023-12-18T08:37:33.241" v="459" actId="207"/>
            <ac:spMkLst>
              <pc:docMk/>
              <pc:sldMasterMk cId="0" sldId="2147483715"/>
              <pc:sldLayoutMk cId="2281391533" sldId="2147483758"/>
              <ac:spMk id="3" creationId="{2EA7ACC0-9174-0F6F-0B3E-9FE773D0A408}"/>
            </ac:spMkLst>
          </pc:spChg>
          <pc:picChg chg="add mod">
            <ac:chgData name="Luca Ricci" userId="ee5f09d5-0832-4e68-94c9-d8bfd2ad04f0" providerId="ADAL" clId="{D501E5E2-574F-6542-B665-A334471D5578}" dt="2023-12-18T08:13:33.224" v="12"/>
            <ac:picMkLst>
              <pc:docMk/>
              <pc:sldMasterMk cId="0" sldId="2147483715"/>
              <pc:sldLayoutMk cId="2281391533" sldId="2147483758"/>
              <ac:picMk id="7" creationId="{75564267-9319-13F8-EEAD-D9F259FB3603}"/>
            </ac:picMkLst>
          </pc:picChg>
          <pc:picChg chg="add mod">
            <ac:chgData name="Luca Ricci" userId="ee5f09d5-0832-4e68-94c9-d8bfd2ad04f0" providerId="ADAL" clId="{D501E5E2-574F-6542-B665-A334471D5578}" dt="2023-12-18T09:13:03.054" v="697" actId="1076"/>
            <ac:picMkLst>
              <pc:docMk/>
              <pc:sldMasterMk cId="0" sldId="2147483715"/>
              <pc:sldLayoutMk cId="2281391533" sldId="2147483758"/>
              <ac:picMk id="13" creationId="{14B40D43-B16A-95C2-5897-59812263EA21}"/>
            </ac:picMkLst>
          </pc:picChg>
          <pc:picChg chg="del">
            <ac:chgData name="Luca Ricci" userId="ee5f09d5-0832-4e68-94c9-d8bfd2ad04f0" providerId="ADAL" clId="{D501E5E2-574F-6542-B665-A334471D5578}" dt="2023-12-18T08:13:32.202" v="11" actId="478"/>
            <ac:picMkLst>
              <pc:docMk/>
              <pc:sldMasterMk cId="0" sldId="2147483715"/>
              <pc:sldLayoutMk cId="2281391533" sldId="2147483758"/>
              <ac:picMk id="20" creationId="{0090C8BE-0F32-4CF4-BB5D-F435E6072DCB}"/>
            </ac:picMkLst>
          </pc:picChg>
        </pc:sldLayoutChg>
      </pc:sldMasterChg>
      <pc:sldMasterChg chg="addSp modSldLayout">
        <pc:chgData name="Luca Ricci" userId="ee5f09d5-0832-4e68-94c9-d8bfd2ad04f0" providerId="ADAL" clId="{D501E5E2-574F-6542-B665-A334471D5578}" dt="2023-12-18T08:31:50.054" v="457"/>
        <pc:sldMasterMkLst>
          <pc:docMk/>
          <pc:sldMasterMk cId="2008708253" sldId="2147483757"/>
        </pc:sldMasterMkLst>
        <pc:spChg chg="add">
          <ac:chgData name="Luca Ricci" userId="ee5f09d5-0832-4e68-94c9-d8bfd2ad04f0" providerId="ADAL" clId="{D501E5E2-574F-6542-B665-A334471D5578}" dt="2023-12-18T08:31:36.749" v="456"/>
          <ac:spMkLst>
            <pc:docMk/>
            <pc:sldMasterMk cId="2008708253" sldId="2147483757"/>
            <ac:spMk id="7" creationId="{CD676044-3807-5874-7D51-B4767D8E762E}"/>
          </ac:spMkLst>
        </pc:spChg>
        <pc:spChg chg="add">
          <ac:chgData name="Luca Ricci" userId="ee5f09d5-0832-4e68-94c9-d8bfd2ad04f0" providerId="ADAL" clId="{D501E5E2-574F-6542-B665-A334471D5578}" dt="2023-12-18T08:31:36.749" v="456"/>
          <ac:spMkLst>
            <pc:docMk/>
            <pc:sldMasterMk cId="2008708253" sldId="2147483757"/>
            <ac:spMk id="9" creationId="{F013580E-98D9-588A-4D79-B71DAFA91A51}"/>
          </ac:spMkLst>
        </pc:spChg>
        <pc:picChg chg="add">
          <ac:chgData name="Luca Ricci" userId="ee5f09d5-0832-4e68-94c9-d8bfd2ad04f0" providerId="ADAL" clId="{D501E5E2-574F-6542-B665-A334471D5578}" dt="2023-12-18T08:31:36.749" v="456"/>
          <ac:picMkLst>
            <pc:docMk/>
            <pc:sldMasterMk cId="2008708253" sldId="2147483757"/>
            <ac:picMk id="10" creationId="{B56FBA6C-F62E-0C96-1D9B-100E4F4AC83E}"/>
          </ac:picMkLst>
        </pc:picChg>
        <pc:sldLayoutChg chg="addSp">
          <pc:chgData name="Luca Ricci" userId="ee5f09d5-0832-4e68-94c9-d8bfd2ad04f0" providerId="ADAL" clId="{D501E5E2-574F-6542-B665-A334471D5578}" dt="2023-12-18T08:31:36.749" v="456"/>
          <pc:sldLayoutMkLst>
            <pc:docMk/>
            <pc:sldMasterMk cId="2008708253" sldId="2147483757"/>
            <pc:sldLayoutMk cId="3059673449" sldId="2147483763"/>
          </pc:sldLayoutMkLst>
          <pc:spChg chg="add">
            <ac:chgData name="Luca Ricci" userId="ee5f09d5-0832-4e68-94c9-d8bfd2ad04f0" providerId="ADAL" clId="{D501E5E2-574F-6542-B665-A334471D5578}" dt="2023-12-18T08:31:36.749" v="456"/>
            <ac:spMkLst>
              <pc:docMk/>
              <pc:sldMasterMk cId="2008708253" sldId="2147483757"/>
              <pc:sldLayoutMk cId="3059673449" sldId="2147483763"/>
              <ac:spMk id="6" creationId="{BDD83863-94B7-C99C-4595-60638394055E}"/>
            </ac:spMkLst>
          </pc:spChg>
        </pc:sldLayoutChg>
        <pc:sldLayoutChg chg="addSp delSp">
          <pc:chgData name="Luca Ricci" userId="ee5f09d5-0832-4e68-94c9-d8bfd2ad04f0" providerId="ADAL" clId="{D501E5E2-574F-6542-B665-A334471D5578}" dt="2023-12-18T08:31:50.054" v="457"/>
          <pc:sldLayoutMkLst>
            <pc:docMk/>
            <pc:sldMasterMk cId="2008708253" sldId="2147483757"/>
            <pc:sldLayoutMk cId="1539184703" sldId="2147483770"/>
          </pc:sldLayoutMkLst>
          <pc:spChg chg="add del">
            <ac:chgData name="Luca Ricci" userId="ee5f09d5-0832-4e68-94c9-d8bfd2ad04f0" providerId="ADAL" clId="{D501E5E2-574F-6542-B665-A334471D5578}" dt="2023-12-18T08:31:50.054" v="457"/>
            <ac:spMkLst>
              <pc:docMk/>
              <pc:sldMasterMk cId="2008708253" sldId="2147483757"/>
              <pc:sldLayoutMk cId="1539184703" sldId="2147483770"/>
              <ac:spMk id="8" creationId="{9D9C4037-B0BC-4E62-B476-A41D0440655D}"/>
            </ac:spMkLst>
          </pc:spChg>
          <pc:spChg chg="add del">
            <ac:chgData name="Luca Ricci" userId="ee5f09d5-0832-4e68-94c9-d8bfd2ad04f0" providerId="ADAL" clId="{D501E5E2-574F-6542-B665-A334471D5578}" dt="2023-12-18T08:31:50.054" v="457"/>
            <ac:spMkLst>
              <pc:docMk/>
              <pc:sldMasterMk cId="2008708253" sldId="2147483757"/>
              <pc:sldLayoutMk cId="1539184703" sldId="2147483770"/>
              <ac:spMk id="9" creationId="{DF1FB678-4F92-45E5-9B25-2B5FE93A0952}"/>
            </ac:spMkLst>
          </pc:spChg>
          <pc:spChg chg="add del">
            <ac:chgData name="Luca Ricci" userId="ee5f09d5-0832-4e68-94c9-d8bfd2ad04f0" providerId="ADAL" clId="{D501E5E2-574F-6542-B665-A334471D5578}" dt="2023-12-18T08:31:50.054" v="457"/>
            <ac:spMkLst>
              <pc:docMk/>
              <pc:sldMasterMk cId="2008708253" sldId="2147483757"/>
              <pc:sldLayoutMk cId="1539184703" sldId="2147483770"/>
              <ac:spMk id="11" creationId="{7BEA6DD0-FBBB-494B-9C03-C447E71492A5}"/>
            </ac:spMkLst>
          </pc:spChg>
          <pc:spChg chg="add del">
            <ac:chgData name="Luca Ricci" userId="ee5f09d5-0832-4e68-94c9-d8bfd2ad04f0" providerId="ADAL" clId="{D501E5E2-574F-6542-B665-A334471D5578}" dt="2023-12-18T08:31:50.054" v="457"/>
            <ac:spMkLst>
              <pc:docMk/>
              <pc:sldMasterMk cId="2008708253" sldId="2147483757"/>
              <pc:sldLayoutMk cId="1539184703" sldId="2147483770"/>
              <ac:spMk id="13" creationId="{295E96AB-B6AB-4A8B-A097-6438B2DA5C51}"/>
            </ac:spMkLst>
          </pc:spChg>
          <pc:spChg chg="add del">
            <ac:chgData name="Luca Ricci" userId="ee5f09d5-0832-4e68-94c9-d8bfd2ad04f0" providerId="ADAL" clId="{D501E5E2-574F-6542-B665-A334471D5578}" dt="2023-12-18T08:31:50.054" v="457"/>
            <ac:spMkLst>
              <pc:docMk/>
              <pc:sldMasterMk cId="2008708253" sldId="2147483757"/>
              <pc:sldLayoutMk cId="1539184703" sldId="2147483770"/>
              <ac:spMk id="15" creationId="{0B3EC6CF-5868-40BD-BF1B-882B13F49F5C}"/>
            </ac:spMkLst>
          </pc:spChg>
          <pc:spChg chg="add del">
            <ac:chgData name="Luca Ricci" userId="ee5f09d5-0832-4e68-94c9-d8bfd2ad04f0" providerId="ADAL" clId="{D501E5E2-574F-6542-B665-A334471D5578}" dt="2023-12-18T08:31:50.054" v="457"/>
            <ac:spMkLst>
              <pc:docMk/>
              <pc:sldMasterMk cId="2008708253" sldId="2147483757"/>
              <pc:sldLayoutMk cId="1539184703" sldId="2147483770"/>
              <ac:spMk id="17" creationId="{FE09BAC5-F3BC-4C51-A794-098F4099C052}"/>
            </ac:spMkLst>
          </pc:spChg>
          <pc:spChg chg="add del">
            <ac:chgData name="Luca Ricci" userId="ee5f09d5-0832-4e68-94c9-d8bfd2ad04f0" providerId="ADAL" clId="{D501E5E2-574F-6542-B665-A334471D5578}" dt="2023-12-18T08:31:50.054" v="457"/>
            <ac:spMkLst>
              <pc:docMk/>
              <pc:sldMasterMk cId="2008708253" sldId="2147483757"/>
              <pc:sldLayoutMk cId="1539184703" sldId="2147483770"/>
              <ac:spMk id="19" creationId="{E695FB18-B641-433F-A03A-D58B93F377B4}"/>
            </ac:spMkLst>
          </pc:spChg>
          <pc:spChg chg="add del">
            <ac:chgData name="Luca Ricci" userId="ee5f09d5-0832-4e68-94c9-d8bfd2ad04f0" providerId="ADAL" clId="{D501E5E2-574F-6542-B665-A334471D5578}" dt="2023-12-18T08:31:50.054" v="457"/>
            <ac:spMkLst>
              <pc:docMk/>
              <pc:sldMasterMk cId="2008708253" sldId="2147483757"/>
              <pc:sldLayoutMk cId="1539184703" sldId="2147483770"/>
              <ac:spMk id="21" creationId="{6F76DDB4-3F8E-4A82-B473-4784C9B20BC1}"/>
            </ac:spMkLst>
          </pc:spChg>
          <pc:spChg chg="add del">
            <ac:chgData name="Luca Ricci" userId="ee5f09d5-0832-4e68-94c9-d8bfd2ad04f0" providerId="ADAL" clId="{D501E5E2-574F-6542-B665-A334471D5578}" dt="2023-12-18T08:31:50.054" v="457"/>
            <ac:spMkLst>
              <pc:docMk/>
              <pc:sldMasterMk cId="2008708253" sldId="2147483757"/>
              <pc:sldLayoutMk cId="1539184703" sldId="2147483770"/>
              <ac:spMk id="23" creationId="{2C326E6F-F54B-4E77-BCF5-73E6B02466B0}"/>
            </ac:spMkLst>
          </pc:spChg>
        </pc:sldLayoutChg>
        <pc:sldLayoutChg chg="addSp delSp">
          <pc:chgData name="Luca Ricci" userId="ee5f09d5-0832-4e68-94c9-d8bfd2ad04f0" providerId="ADAL" clId="{D501E5E2-574F-6542-B665-A334471D5578}" dt="2023-12-18T08:31:50.054" v="457"/>
          <pc:sldLayoutMkLst>
            <pc:docMk/>
            <pc:sldMasterMk cId="2008708253" sldId="2147483757"/>
            <pc:sldLayoutMk cId="1461110984" sldId="2147483771"/>
          </pc:sldLayoutMkLst>
          <pc:spChg chg="add del">
            <ac:chgData name="Luca Ricci" userId="ee5f09d5-0832-4e68-94c9-d8bfd2ad04f0" providerId="ADAL" clId="{D501E5E2-574F-6542-B665-A334471D5578}" dt="2023-12-18T08:31:50.054" v="457"/>
            <ac:spMkLst>
              <pc:docMk/>
              <pc:sldMasterMk cId="2008708253" sldId="2147483757"/>
              <pc:sldLayoutMk cId="1461110984" sldId="2147483771"/>
              <ac:spMk id="6" creationId="{45591D6F-6D52-44E5-B3AA-2575CCD45201}"/>
            </ac:spMkLst>
          </pc:spChg>
          <pc:spChg chg="add del">
            <ac:chgData name="Luca Ricci" userId="ee5f09d5-0832-4e68-94c9-d8bfd2ad04f0" providerId="ADAL" clId="{D501E5E2-574F-6542-B665-A334471D5578}" dt="2023-12-18T08:31:50.054" v="457"/>
            <ac:spMkLst>
              <pc:docMk/>
              <pc:sldMasterMk cId="2008708253" sldId="2147483757"/>
              <pc:sldLayoutMk cId="1461110984" sldId="2147483771"/>
              <ac:spMk id="7" creationId="{8182E335-5A52-4E3C-BCEC-9507D81BA511}"/>
            </ac:spMkLst>
          </pc:spChg>
          <pc:spChg chg="add del">
            <ac:chgData name="Luca Ricci" userId="ee5f09d5-0832-4e68-94c9-d8bfd2ad04f0" providerId="ADAL" clId="{D501E5E2-574F-6542-B665-A334471D5578}" dt="2023-12-18T08:31:50.054" v="457"/>
            <ac:spMkLst>
              <pc:docMk/>
              <pc:sldMasterMk cId="2008708253" sldId="2147483757"/>
              <pc:sldLayoutMk cId="1461110984" sldId="2147483771"/>
              <ac:spMk id="10" creationId="{8739B1C3-A1A6-48E1-B2C4-F4CE3C824436}"/>
            </ac:spMkLst>
          </pc:spChg>
          <pc:spChg chg="add del">
            <ac:chgData name="Luca Ricci" userId="ee5f09d5-0832-4e68-94c9-d8bfd2ad04f0" providerId="ADAL" clId="{D501E5E2-574F-6542-B665-A334471D5578}" dt="2023-12-18T08:31:50.054" v="457"/>
            <ac:spMkLst>
              <pc:docMk/>
              <pc:sldMasterMk cId="2008708253" sldId="2147483757"/>
              <pc:sldLayoutMk cId="1461110984" sldId="2147483771"/>
              <ac:spMk id="12" creationId="{C7038F66-C11F-4566-ADAF-A099AF957551}"/>
            </ac:spMkLst>
          </pc:spChg>
          <pc:spChg chg="add del">
            <ac:chgData name="Luca Ricci" userId="ee5f09d5-0832-4e68-94c9-d8bfd2ad04f0" providerId="ADAL" clId="{D501E5E2-574F-6542-B665-A334471D5578}" dt="2023-12-18T08:31:50.054" v="457"/>
            <ac:spMkLst>
              <pc:docMk/>
              <pc:sldMasterMk cId="2008708253" sldId="2147483757"/>
              <pc:sldLayoutMk cId="1461110984" sldId="2147483771"/>
              <ac:spMk id="13" creationId="{E0318986-8EA2-446A-AFF2-E8441C3AF8A6}"/>
            </ac:spMkLst>
          </pc:spChg>
        </pc:sldLayoutChg>
      </pc:sldMasterChg>
      <pc:sldMasterChg chg="addSp modSldLayout">
        <pc:chgData name="Luca Ricci" userId="ee5f09d5-0832-4e68-94c9-d8bfd2ad04f0" providerId="ADAL" clId="{D501E5E2-574F-6542-B665-A334471D5578}" dt="2023-12-18T08:26:43.228" v="441"/>
        <pc:sldMasterMkLst>
          <pc:docMk/>
          <pc:sldMasterMk cId="2439023528" sldId="2147483757"/>
        </pc:sldMasterMkLst>
        <pc:spChg chg="add">
          <ac:chgData name="Luca Ricci" userId="ee5f09d5-0832-4e68-94c9-d8bfd2ad04f0" providerId="ADAL" clId="{D501E5E2-574F-6542-B665-A334471D5578}" dt="2023-12-18T08:26:38.917" v="440"/>
          <ac:spMkLst>
            <pc:docMk/>
            <pc:sldMasterMk cId="2439023528" sldId="2147483757"/>
            <ac:spMk id="8" creationId="{EA9C3011-FB2B-BFF3-8805-65DD44A255E2}"/>
          </ac:spMkLst>
        </pc:spChg>
        <pc:spChg chg="add">
          <ac:chgData name="Luca Ricci" userId="ee5f09d5-0832-4e68-94c9-d8bfd2ad04f0" providerId="ADAL" clId="{D501E5E2-574F-6542-B665-A334471D5578}" dt="2023-12-18T08:26:38.917" v="440"/>
          <ac:spMkLst>
            <pc:docMk/>
            <pc:sldMasterMk cId="2439023528" sldId="2147483757"/>
            <ac:spMk id="9" creationId="{B2784A38-2B5B-5CF3-10D6-4C3D9EA1EB25}"/>
          </ac:spMkLst>
        </pc:spChg>
        <pc:picChg chg="add">
          <ac:chgData name="Luca Ricci" userId="ee5f09d5-0832-4e68-94c9-d8bfd2ad04f0" providerId="ADAL" clId="{D501E5E2-574F-6542-B665-A334471D5578}" dt="2023-12-18T08:26:38.917" v="440"/>
          <ac:picMkLst>
            <pc:docMk/>
            <pc:sldMasterMk cId="2439023528" sldId="2147483757"/>
            <ac:picMk id="10" creationId="{E11FF2DC-F675-3C31-3734-771340FC4814}"/>
          </ac:picMkLst>
        </pc:picChg>
        <pc:sldLayoutChg chg="addSp">
          <pc:chgData name="Luca Ricci" userId="ee5f09d5-0832-4e68-94c9-d8bfd2ad04f0" providerId="ADAL" clId="{D501E5E2-574F-6542-B665-A334471D5578}" dt="2023-12-18T08:26:38.917" v="440"/>
          <pc:sldLayoutMkLst>
            <pc:docMk/>
            <pc:sldMasterMk cId="2439023528" sldId="2147483757"/>
            <pc:sldLayoutMk cId="3986506277" sldId="2147483763"/>
          </pc:sldLayoutMkLst>
          <pc:spChg chg="add">
            <ac:chgData name="Luca Ricci" userId="ee5f09d5-0832-4e68-94c9-d8bfd2ad04f0" providerId="ADAL" clId="{D501E5E2-574F-6542-B665-A334471D5578}" dt="2023-12-18T08:26:38.917" v="440"/>
            <ac:spMkLst>
              <pc:docMk/>
              <pc:sldMasterMk cId="2439023528" sldId="2147483757"/>
              <pc:sldLayoutMk cId="3986506277" sldId="2147483763"/>
              <ac:spMk id="6" creationId="{C495DA99-6503-E6C9-656C-28B8D9588449}"/>
            </ac:spMkLst>
          </pc:spChg>
        </pc:sldLayoutChg>
        <pc:sldLayoutChg chg="addSp delSp">
          <pc:chgData name="Luca Ricci" userId="ee5f09d5-0832-4e68-94c9-d8bfd2ad04f0" providerId="ADAL" clId="{D501E5E2-574F-6542-B665-A334471D5578}" dt="2023-12-18T08:26:43.228" v="441"/>
          <pc:sldLayoutMkLst>
            <pc:docMk/>
            <pc:sldMasterMk cId="2439023528" sldId="2147483757"/>
            <pc:sldLayoutMk cId="1348555779" sldId="2147483770"/>
          </pc:sldLayoutMkLst>
          <pc:spChg chg="add del">
            <ac:chgData name="Luca Ricci" userId="ee5f09d5-0832-4e68-94c9-d8bfd2ad04f0" providerId="ADAL" clId="{D501E5E2-574F-6542-B665-A334471D5578}" dt="2023-12-18T08:26:43.228" v="441"/>
            <ac:spMkLst>
              <pc:docMk/>
              <pc:sldMasterMk cId="2439023528" sldId="2147483757"/>
              <pc:sldLayoutMk cId="1348555779" sldId="2147483770"/>
              <ac:spMk id="8" creationId="{9D9C4037-B0BC-4E62-B476-A41D0440655D}"/>
            </ac:spMkLst>
          </pc:spChg>
          <pc:spChg chg="add del">
            <ac:chgData name="Luca Ricci" userId="ee5f09d5-0832-4e68-94c9-d8bfd2ad04f0" providerId="ADAL" clId="{D501E5E2-574F-6542-B665-A334471D5578}" dt="2023-12-18T08:26:43.228" v="441"/>
            <ac:spMkLst>
              <pc:docMk/>
              <pc:sldMasterMk cId="2439023528" sldId="2147483757"/>
              <pc:sldLayoutMk cId="1348555779" sldId="2147483770"/>
              <ac:spMk id="9" creationId="{DF1FB678-4F92-45E5-9B25-2B5FE93A0952}"/>
            </ac:spMkLst>
          </pc:spChg>
          <pc:spChg chg="add del">
            <ac:chgData name="Luca Ricci" userId="ee5f09d5-0832-4e68-94c9-d8bfd2ad04f0" providerId="ADAL" clId="{D501E5E2-574F-6542-B665-A334471D5578}" dt="2023-12-18T08:26:43.228" v="441"/>
            <ac:spMkLst>
              <pc:docMk/>
              <pc:sldMasterMk cId="2439023528" sldId="2147483757"/>
              <pc:sldLayoutMk cId="1348555779" sldId="2147483770"/>
              <ac:spMk id="11" creationId="{7BEA6DD0-FBBB-494B-9C03-C447E71492A5}"/>
            </ac:spMkLst>
          </pc:spChg>
          <pc:spChg chg="add del">
            <ac:chgData name="Luca Ricci" userId="ee5f09d5-0832-4e68-94c9-d8bfd2ad04f0" providerId="ADAL" clId="{D501E5E2-574F-6542-B665-A334471D5578}" dt="2023-12-18T08:26:43.228" v="441"/>
            <ac:spMkLst>
              <pc:docMk/>
              <pc:sldMasterMk cId="2439023528" sldId="2147483757"/>
              <pc:sldLayoutMk cId="1348555779" sldId="2147483770"/>
              <ac:spMk id="13" creationId="{295E96AB-B6AB-4A8B-A097-6438B2DA5C51}"/>
            </ac:spMkLst>
          </pc:spChg>
          <pc:spChg chg="add del">
            <ac:chgData name="Luca Ricci" userId="ee5f09d5-0832-4e68-94c9-d8bfd2ad04f0" providerId="ADAL" clId="{D501E5E2-574F-6542-B665-A334471D5578}" dt="2023-12-18T08:26:43.228" v="441"/>
            <ac:spMkLst>
              <pc:docMk/>
              <pc:sldMasterMk cId="2439023528" sldId="2147483757"/>
              <pc:sldLayoutMk cId="1348555779" sldId="2147483770"/>
              <ac:spMk id="15" creationId="{0B3EC6CF-5868-40BD-BF1B-882B13F49F5C}"/>
            </ac:spMkLst>
          </pc:spChg>
          <pc:spChg chg="add del">
            <ac:chgData name="Luca Ricci" userId="ee5f09d5-0832-4e68-94c9-d8bfd2ad04f0" providerId="ADAL" clId="{D501E5E2-574F-6542-B665-A334471D5578}" dt="2023-12-18T08:26:43.228" v="441"/>
            <ac:spMkLst>
              <pc:docMk/>
              <pc:sldMasterMk cId="2439023528" sldId="2147483757"/>
              <pc:sldLayoutMk cId="1348555779" sldId="2147483770"/>
              <ac:spMk id="17" creationId="{FE09BAC5-F3BC-4C51-A794-098F4099C052}"/>
            </ac:spMkLst>
          </pc:spChg>
          <pc:spChg chg="add del">
            <ac:chgData name="Luca Ricci" userId="ee5f09d5-0832-4e68-94c9-d8bfd2ad04f0" providerId="ADAL" clId="{D501E5E2-574F-6542-B665-A334471D5578}" dt="2023-12-18T08:26:43.228" v="441"/>
            <ac:spMkLst>
              <pc:docMk/>
              <pc:sldMasterMk cId="2439023528" sldId="2147483757"/>
              <pc:sldLayoutMk cId="1348555779" sldId="2147483770"/>
              <ac:spMk id="19" creationId="{E695FB18-B641-433F-A03A-D58B93F377B4}"/>
            </ac:spMkLst>
          </pc:spChg>
          <pc:spChg chg="add del">
            <ac:chgData name="Luca Ricci" userId="ee5f09d5-0832-4e68-94c9-d8bfd2ad04f0" providerId="ADAL" clId="{D501E5E2-574F-6542-B665-A334471D5578}" dt="2023-12-18T08:26:43.228" v="441"/>
            <ac:spMkLst>
              <pc:docMk/>
              <pc:sldMasterMk cId="2439023528" sldId="2147483757"/>
              <pc:sldLayoutMk cId="1348555779" sldId="2147483770"/>
              <ac:spMk id="21" creationId="{6F76DDB4-3F8E-4A82-B473-4784C9B20BC1}"/>
            </ac:spMkLst>
          </pc:spChg>
          <pc:spChg chg="add del">
            <ac:chgData name="Luca Ricci" userId="ee5f09d5-0832-4e68-94c9-d8bfd2ad04f0" providerId="ADAL" clId="{D501E5E2-574F-6542-B665-A334471D5578}" dt="2023-12-18T08:26:43.228" v="441"/>
            <ac:spMkLst>
              <pc:docMk/>
              <pc:sldMasterMk cId="2439023528" sldId="2147483757"/>
              <pc:sldLayoutMk cId="1348555779" sldId="2147483770"/>
              <ac:spMk id="23" creationId="{2C326E6F-F54B-4E77-BCF5-73E6B02466B0}"/>
            </ac:spMkLst>
          </pc:spChg>
        </pc:sldLayoutChg>
        <pc:sldLayoutChg chg="addSp delSp">
          <pc:chgData name="Luca Ricci" userId="ee5f09d5-0832-4e68-94c9-d8bfd2ad04f0" providerId="ADAL" clId="{D501E5E2-574F-6542-B665-A334471D5578}" dt="2023-12-18T08:26:43.228" v="441"/>
          <pc:sldLayoutMkLst>
            <pc:docMk/>
            <pc:sldMasterMk cId="2439023528" sldId="2147483757"/>
            <pc:sldLayoutMk cId="1168032543" sldId="2147483771"/>
          </pc:sldLayoutMkLst>
          <pc:spChg chg="add del">
            <ac:chgData name="Luca Ricci" userId="ee5f09d5-0832-4e68-94c9-d8bfd2ad04f0" providerId="ADAL" clId="{D501E5E2-574F-6542-B665-A334471D5578}" dt="2023-12-18T08:26:43.228" v="441"/>
            <ac:spMkLst>
              <pc:docMk/>
              <pc:sldMasterMk cId="2439023528" sldId="2147483757"/>
              <pc:sldLayoutMk cId="1168032543" sldId="2147483771"/>
              <ac:spMk id="6" creationId="{45591D6F-6D52-44E5-B3AA-2575CCD45201}"/>
            </ac:spMkLst>
          </pc:spChg>
          <pc:spChg chg="add del">
            <ac:chgData name="Luca Ricci" userId="ee5f09d5-0832-4e68-94c9-d8bfd2ad04f0" providerId="ADAL" clId="{D501E5E2-574F-6542-B665-A334471D5578}" dt="2023-12-18T08:26:43.228" v="441"/>
            <ac:spMkLst>
              <pc:docMk/>
              <pc:sldMasterMk cId="2439023528" sldId="2147483757"/>
              <pc:sldLayoutMk cId="1168032543" sldId="2147483771"/>
              <ac:spMk id="7" creationId="{8182E335-5A52-4E3C-BCEC-9507D81BA511}"/>
            </ac:spMkLst>
          </pc:spChg>
          <pc:spChg chg="add del">
            <ac:chgData name="Luca Ricci" userId="ee5f09d5-0832-4e68-94c9-d8bfd2ad04f0" providerId="ADAL" clId="{D501E5E2-574F-6542-B665-A334471D5578}" dt="2023-12-18T08:26:43.228" v="441"/>
            <ac:spMkLst>
              <pc:docMk/>
              <pc:sldMasterMk cId="2439023528" sldId="2147483757"/>
              <pc:sldLayoutMk cId="1168032543" sldId="2147483771"/>
              <ac:spMk id="10" creationId="{8739B1C3-A1A6-48E1-B2C4-F4CE3C824436}"/>
            </ac:spMkLst>
          </pc:spChg>
          <pc:spChg chg="add del">
            <ac:chgData name="Luca Ricci" userId="ee5f09d5-0832-4e68-94c9-d8bfd2ad04f0" providerId="ADAL" clId="{D501E5E2-574F-6542-B665-A334471D5578}" dt="2023-12-18T08:26:43.228" v="441"/>
            <ac:spMkLst>
              <pc:docMk/>
              <pc:sldMasterMk cId="2439023528" sldId="2147483757"/>
              <pc:sldLayoutMk cId="1168032543" sldId="2147483771"/>
              <ac:spMk id="12" creationId="{C7038F66-C11F-4566-ADAF-A099AF957551}"/>
            </ac:spMkLst>
          </pc:spChg>
          <pc:spChg chg="add del">
            <ac:chgData name="Luca Ricci" userId="ee5f09d5-0832-4e68-94c9-d8bfd2ad04f0" providerId="ADAL" clId="{D501E5E2-574F-6542-B665-A334471D5578}" dt="2023-12-18T08:26:43.228" v="441"/>
            <ac:spMkLst>
              <pc:docMk/>
              <pc:sldMasterMk cId="2439023528" sldId="2147483757"/>
              <pc:sldLayoutMk cId="1168032543" sldId="2147483771"/>
              <ac:spMk id="13" creationId="{E0318986-8EA2-446A-AFF2-E8441C3AF8A6}"/>
            </ac:spMkLst>
          </pc:spChg>
        </pc:sldLayoutChg>
      </pc:sldMasterChg>
      <pc:sldMasterChg chg="addSp modSldLayout">
        <pc:chgData name="Luca Ricci" userId="ee5f09d5-0832-4e68-94c9-d8bfd2ad04f0" providerId="ADAL" clId="{D501E5E2-574F-6542-B665-A334471D5578}" dt="2023-12-18T08:27:25.758" v="452"/>
        <pc:sldMasterMkLst>
          <pc:docMk/>
          <pc:sldMasterMk cId="3244851779" sldId="2147483757"/>
        </pc:sldMasterMkLst>
        <pc:spChg chg="add">
          <ac:chgData name="Luca Ricci" userId="ee5f09d5-0832-4e68-94c9-d8bfd2ad04f0" providerId="ADAL" clId="{D501E5E2-574F-6542-B665-A334471D5578}" dt="2023-12-18T08:27:18.781" v="445"/>
          <ac:spMkLst>
            <pc:docMk/>
            <pc:sldMasterMk cId="3244851779" sldId="2147483757"/>
            <ac:spMk id="7" creationId="{859AE944-056A-001F-7328-7B21399710C6}"/>
          </ac:spMkLst>
        </pc:spChg>
        <pc:spChg chg="add">
          <ac:chgData name="Luca Ricci" userId="ee5f09d5-0832-4e68-94c9-d8bfd2ad04f0" providerId="ADAL" clId="{D501E5E2-574F-6542-B665-A334471D5578}" dt="2023-12-18T08:27:18.781" v="445"/>
          <ac:spMkLst>
            <pc:docMk/>
            <pc:sldMasterMk cId="3244851779" sldId="2147483757"/>
            <ac:spMk id="8" creationId="{22A24F6D-0327-5083-9D0F-1494C85F09A0}"/>
          </ac:spMkLst>
        </pc:spChg>
        <pc:picChg chg="add">
          <ac:chgData name="Luca Ricci" userId="ee5f09d5-0832-4e68-94c9-d8bfd2ad04f0" providerId="ADAL" clId="{D501E5E2-574F-6542-B665-A334471D5578}" dt="2023-12-18T08:27:18.781" v="445"/>
          <ac:picMkLst>
            <pc:docMk/>
            <pc:sldMasterMk cId="3244851779" sldId="2147483757"/>
            <ac:picMk id="12" creationId="{12A851E9-E73D-8DFA-5483-629A470DF9E3}"/>
          </ac:picMkLst>
        </pc:picChg>
        <pc:sldLayoutChg chg="addSp">
          <pc:chgData name="Luca Ricci" userId="ee5f09d5-0832-4e68-94c9-d8bfd2ad04f0" providerId="ADAL" clId="{D501E5E2-574F-6542-B665-A334471D5578}" dt="2023-12-18T08:27:18.781" v="445"/>
          <pc:sldLayoutMkLst>
            <pc:docMk/>
            <pc:sldMasterMk cId="3244851779" sldId="2147483757"/>
            <pc:sldLayoutMk cId="3269021797" sldId="2147483763"/>
          </pc:sldLayoutMkLst>
          <pc:spChg chg="add">
            <ac:chgData name="Luca Ricci" userId="ee5f09d5-0832-4e68-94c9-d8bfd2ad04f0" providerId="ADAL" clId="{D501E5E2-574F-6542-B665-A334471D5578}" dt="2023-12-18T08:27:18.781" v="445"/>
            <ac:spMkLst>
              <pc:docMk/>
              <pc:sldMasterMk cId="3244851779" sldId="2147483757"/>
              <pc:sldLayoutMk cId="3269021797" sldId="2147483763"/>
              <ac:spMk id="2" creationId="{BBE44E9C-4A97-0459-E8A7-D27000835B84}"/>
            </ac:spMkLst>
          </pc:spChg>
        </pc:sldLayoutChg>
        <pc:sldLayoutChg chg="addSp delSp">
          <pc:chgData name="Luca Ricci" userId="ee5f09d5-0832-4e68-94c9-d8bfd2ad04f0" providerId="ADAL" clId="{D501E5E2-574F-6542-B665-A334471D5578}" dt="2023-12-18T08:27:25.758" v="452"/>
          <pc:sldLayoutMkLst>
            <pc:docMk/>
            <pc:sldMasterMk cId="3244851779" sldId="2147483757"/>
            <pc:sldLayoutMk cId="2605336192" sldId="2147483770"/>
          </pc:sldLayoutMkLst>
          <pc:spChg chg="add del">
            <ac:chgData name="Luca Ricci" userId="ee5f09d5-0832-4e68-94c9-d8bfd2ad04f0" providerId="ADAL" clId="{D501E5E2-574F-6542-B665-A334471D5578}" dt="2023-12-18T08:27:25.758" v="452"/>
            <ac:spMkLst>
              <pc:docMk/>
              <pc:sldMasterMk cId="3244851779" sldId="2147483757"/>
              <pc:sldLayoutMk cId="2605336192" sldId="2147483770"/>
              <ac:spMk id="8" creationId="{9D9C4037-B0BC-4E62-B476-A41D0440655D}"/>
            </ac:spMkLst>
          </pc:spChg>
          <pc:spChg chg="add del">
            <ac:chgData name="Luca Ricci" userId="ee5f09d5-0832-4e68-94c9-d8bfd2ad04f0" providerId="ADAL" clId="{D501E5E2-574F-6542-B665-A334471D5578}" dt="2023-12-18T08:27:25.758" v="452"/>
            <ac:spMkLst>
              <pc:docMk/>
              <pc:sldMasterMk cId="3244851779" sldId="2147483757"/>
              <pc:sldLayoutMk cId="2605336192" sldId="2147483770"/>
              <ac:spMk id="9" creationId="{DF1FB678-4F92-45E5-9B25-2B5FE93A0952}"/>
            </ac:spMkLst>
          </pc:spChg>
          <pc:spChg chg="add del">
            <ac:chgData name="Luca Ricci" userId="ee5f09d5-0832-4e68-94c9-d8bfd2ad04f0" providerId="ADAL" clId="{D501E5E2-574F-6542-B665-A334471D5578}" dt="2023-12-18T08:27:25.758" v="452"/>
            <ac:spMkLst>
              <pc:docMk/>
              <pc:sldMasterMk cId="3244851779" sldId="2147483757"/>
              <pc:sldLayoutMk cId="2605336192" sldId="2147483770"/>
              <ac:spMk id="11" creationId="{7BEA6DD0-FBBB-494B-9C03-C447E71492A5}"/>
            </ac:spMkLst>
          </pc:spChg>
          <pc:spChg chg="add del">
            <ac:chgData name="Luca Ricci" userId="ee5f09d5-0832-4e68-94c9-d8bfd2ad04f0" providerId="ADAL" clId="{D501E5E2-574F-6542-B665-A334471D5578}" dt="2023-12-18T08:27:25.758" v="452"/>
            <ac:spMkLst>
              <pc:docMk/>
              <pc:sldMasterMk cId="3244851779" sldId="2147483757"/>
              <pc:sldLayoutMk cId="2605336192" sldId="2147483770"/>
              <ac:spMk id="13" creationId="{295E96AB-B6AB-4A8B-A097-6438B2DA5C51}"/>
            </ac:spMkLst>
          </pc:spChg>
          <pc:spChg chg="add del">
            <ac:chgData name="Luca Ricci" userId="ee5f09d5-0832-4e68-94c9-d8bfd2ad04f0" providerId="ADAL" clId="{D501E5E2-574F-6542-B665-A334471D5578}" dt="2023-12-18T08:27:25.758" v="452"/>
            <ac:spMkLst>
              <pc:docMk/>
              <pc:sldMasterMk cId="3244851779" sldId="2147483757"/>
              <pc:sldLayoutMk cId="2605336192" sldId="2147483770"/>
              <ac:spMk id="15" creationId="{0B3EC6CF-5868-40BD-BF1B-882B13F49F5C}"/>
            </ac:spMkLst>
          </pc:spChg>
          <pc:spChg chg="add del">
            <ac:chgData name="Luca Ricci" userId="ee5f09d5-0832-4e68-94c9-d8bfd2ad04f0" providerId="ADAL" clId="{D501E5E2-574F-6542-B665-A334471D5578}" dt="2023-12-18T08:27:25.758" v="452"/>
            <ac:spMkLst>
              <pc:docMk/>
              <pc:sldMasterMk cId="3244851779" sldId="2147483757"/>
              <pc:sldLayoutMk cId="2605336192" sldId="2147483770"/>
              <ac:spMk id="17" creationId="{FE09BAC5-F3BC-4C51-A794-098F4099C052}"/>
            </ac:spMkLst>
          </pc:spChg>
          <pc:spChg chg="add del">
            <ac:chgData name="Luca Ricci" userId="ee5f09d5-0832-4e68-94c9-d8bfd2ad04f0" providerId="ADAL" clId="{D501E5E2-574F-6542-B665-A334471D5578}" dt="2023-12-18T08:27:25.758" v="452"/>
            <ac:spMkLst>
              <pc:docMk/>
              <pc:sldMasterMk cId="3244851779" sldId="2147483757"/>
              <pc:sldLayoutMk cId="2605336192" sldId="2147483770"/>
              <ac:spMk id="19" creationId="{E695FB18-B641-433F-A03A-D58B93F377B4}"/>
            </ac:spMkLst>
          </pc:spChg>
          <pc:spChg chg="add del">
            <ac:chgData name="Luca Ricci" userId="ee5f09d5-0832-4e68-94c9-d8bfd2ad04f0" providerId="ADAL" clId="{D501E5E2-574F-6542-B665-A334471D5578}" dt="2023-12-18T08:27:25.758" v="452"/>
            <ac:spMkLst>
              <pc:docMk/>
              <pc:sldMasterMk cId="3244851779" sldId="2147483757"/>
              <pc:sldLayoutMk cId="2605336192" sldId="2147483770"/>
              <ac:spMk id="21" creationId="{6F76DDB4-3F8E-4A82-B473-4784C9B20BC1}"/>
            </ac:spMkLst>
          </pc:spChg>
          <pc:spChg chg="add del">
            <ac:chgData name="Luca Ricci" userId="ee5f09d5-0832-4e68-94c9-d8bfd2ad04f0" providerId="ADAL" clId="{D501E5E2-574F-6542-B665-A334471D5578}" dt="2023-12-18T08:27:25.758" v="452"/>
            <ac:spMkLst>
              <pc:docMk/>
              <pc:sldMasterMk cId="3244851779" sldId="2147483757"/>
              <pc:sldLayoutMk cId="2605336192" sldId="2147483770"/>
              <ac:spMk id="23" creationId="{2C326E6F-F54B-4E77-BCF5-73E6B02466B0}"/>
            </ac:spMkLst>
          </pc:spChg>
        </pc:sldLayoutChg>
        <pc:sldLayoutChg chg="addSp delSp">
          <pc:chgData name="Luca Ricci" userId="ee5f09d5-0832-4e68-94c9-d8bfd2ad04f0" providerId="ADAL" clId="{D501E5E2-574F-6542-B665-A334471D5578}" dt="2023-12-18T08:27:25.758" v="452"/>
          <pc:sldLayoutMkLst>
            <pc:docMk/>
            <pc:sldMasterMk cId="3244851779" sldId="2147483757"/>
            <pc:sldLayoutMk cId="514128480" sldId="2147483771"/>
          </pc:sldLayoutMkLst>
          <pc:spChg chg="add del">
            <ac:chgData name="Luca Ricci" userId="ee5f09d5-0832-4e68-94c9-d8bfd2ad04f0" providerId="ADAL" clId="{D501E5E2-574F-6542-B665-A334471D5578}" dt="2023-12-18T08:27:25.758" v="452"/>
            <ac:spMkLst>
              <pc:docMk/>
              <pc:sldMasterMk cId="3244851779" sldId="2147483757"/>
              <pc:sldLayoutMk cId="514128480" sldId="2147483771"/>
              <ac:spMk id="6" creationId="{45591D6F-6D52-44E5-B3AA-2575CCD45201}"/>
            </ac:spMkLst>
          </pc:spChg>
          <pc:spChg chg="add del">
            <ac:chgData name="Luca Ricci" userId="ee5f09d5-0832-4e68-94c9-d8bfd2ad04f0" providerId="ADAL" clId="{D501E5E2-574F-6542-B665-A334471D5578}" dt="2023-12-18T08:27:25.758" v="452"/>
            <ac:spMkLst>
              <pc:docMk/>
              <pc:sldMasterMk cId="3244851779" sldId="2147483757"/>
              <pc:sldLayoutMk cId="514128480" sldId="2147483771"/>
              <ac:spMk id="7" creationId="{8182E335-5A52-4E3C-BCEC-9507D81BA511}"/>
            </ac:spMkLst>
          </pc:spChg>
          <pc:spChg chg="add del">
            <ac:chgData name="Luca Ricci" userId="ee5f09d5-0832-4e68-94c9-d8bfd2ad04f0" providerId="ADAL" clId="{D501E5E2-574F-6542-B665-A334471D5578}" dt="2023-12-18T08:27:25.758" v="452"/>
            <ac:spMkLst>
              <pc:docMk/>
              <pc:sldMasterMk cId="3244851779" sldId="2147483757"/>
              <pc:sldLayoutMk cId="514128480" sldId="2147483771"/>
              <ac:spMk id="10" creationId="{8739B1C3-A1A6-48E1-B2C4-F4CE3C824436}"/>
            </ac:spMkLst>
          </pc:spChg>
          <pc:spChg chg="add del">
            <ac:chgData name="Luca Ricci" userId="ee5f09d5-0832-4e68-94c9-d8bfd2ad04f0" providerId="ADAL" clId="{D501E5E2-574F-6542-B665-A334471D5578}" dt="2023-12-18T08:27:25.758" v="452"/>
            <ac:spMkLst>
              <pc:docMk/>
              <pc:sldMasterMk cId="3244851779" sldId="2147483757"/>
              <pc:sldLayoutMk cId="514128480" sldId="2147483771"/>
              <ac:spMk id="12" creationId="{C7038F66-C11F-4566-ADAF-A099AF957551}"/>
            </ac:spMkLst>
          </pc:spChg>
          <pc:spChg chg="add del">
            <ac:chgData name="Luca Ricci" userId="ee5f09d5-0832-4e68-94c9-d8bfd2ad04f0" providerId="ADAL" clId="{D501E5E2-574F-6542-B665-A334471D5578}" dt="2023-12-18T08:27:25.758" v="452"/>
            <ac:spMkLst>
              <pc:docMk/>
              <pc:sldMasterMk cId="3244851779" sldId="2147483757"/>
              <pc:sldLayoutMk cId="514128480" sldId="2147483771"/>
              <ac:spMk id="13" creationId="{E0318986-8EA2-446A-AFF2-E8441C3AF8A6}"/>
            </ac:spMkLst>
          </pc:spChg>
        </pc:sldLayoutChg>
      </pc:sldMasterChg>
      <pc:sldMasterChg chg="new add del mod addSldLayout delSldLayout">
        <pc:chgData name="Luca Ricci" userId="ee5f09d5-0832-4e68-94c9-d8bfd2ad04f0" providerId="ADAL" clId="{D501E5E2-574F-6542-B665-A334471D5578}" dt="2023-12-18T11:00:37.739" v="6416" actId="6938"/>
        <pc:sldMasterMkLst>
          <pc:docMk/>
          <pc:sldMasterMk cId="4224928084" sldId="2147483757"/>
        </pc:sldMasterMkLst>
        <pc:sldLayoutChg chg="new add del replId">
          <pc:chgData name="Luca Ricci" userId="ee5f09d5-0832-4e68-94c9-d8bfd2ad04f0" providerId="ADAL" clId="{D501E5E2-574F-6542-B665-A334471D5578}" dt="2023-12-18T11:00:37.739" v="6416" actId="6938"/>
          <pc:sldLayoutMkLst>
            <pc:docMk/>
            <pc:sldMasterMk cId="4224928084" sldId="2147483757"/>
            <pc:sldLayoutMk cId="249204022" sldId="2147483758"/>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1109224301" sldId="2147483759"/>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2938004223" sldId="2147483760"/>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3409106740" sldId="2147483761"/>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3158473068" sldId="2147483762"/>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3740108472" sldId="2147483763"/>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3751421800" sldId="2147483764"/>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3029705949" sldId="2147483765"/>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727952664" sldId="2147483766"/>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1044000589" sldId="2147483767"/>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68681359" sldId="2147483768"/>
          </pc:sldLayoutMkLst>
        </pc:sldLayoutChg>
      </pc:sldMasterChg>
      <pc:sldMasterChg chg="addSp modSldLayout">
        <pc:chgData name="Luca Ricci" userId="ee5f09d5-0832-4e68-94c9-d8bfd2ad04f0" providerId="ADAL" clId="{D501E5E2-574F-6542-B665-A334471D5578}" dt="2023-12-18T08:27:21.980" v="447"/>
        <pc:sldMasterMkLst>
          <pc:docMk/>
          <pc:sldMasterMk cId="2244155654" sldId="2147483772"/>
        </pc:sldMasterMkLst>
        <pc:spChg chg="add">
          <ac:chgData name="Luca Ricci" userId="ee5f09d5-0832-4e68-94c9-d8bfd2ad04f0" providerId="ADAL" clId="{D501E5E2-574F-6542-B665-A334471D5578}" dt="2023-12-18T08:27:21.980" v="447"/>
          <ac:spMkLst>
            <pc:docMk/>
            <pc:sldMasterMk cId="2244155654" sldId="2147483772"/>
            <ac:spMk id="7" creationId="{ACC54F18-B65C-DECD-30A6-C2D13F9D5532}"/>
          </ac:spMkLst>
        </pc:spChg>
        <pc:spChg chg="add">
          <ac:chgData name="Luca Ricci" userId="ee5f09d5-0832-4e68-94c9-d8bfd2ad04f0" providerId="ADAL" clId="{D501E5E2-574F-6542-B665-A334471D5578}" dt="2023-12-18T08:27:21.980" v="447"/>
          <ac:spMkLst>
            <pc:docMk/>
            <pc:sldMasterMk cId="2244155654" sldId="2147483772"/>
            <ac:spMk id="8" creationId="{1A733346-F995-4A7F-A695-438AD86EAF54}"/>
          </ac:spMkLst>
        </pc:spChg>
        <pc:picChg chg="add">
          <ac:chgData name="Luca Ricci" userId="ee5f09d5-0832-4e68-94c9-d8bfd2ad04f0" providerId="ADAL" clId="{D501E5E2-574F-6542-B665-A334471D5578}" dt="2023-12-18T08:27:21.980" v="447"/>
          <ac:picMkLst>
            <pc:docMk/>
            <pc:sldMasterMk cId="2244155654" sldId="2147483772"/>
            <ac:picMk id="9" creationId="{A1DDBAE3-69F7-BF17-41E2-D9AEB42B4997}"/>
          </ac:picMkLst>
        </pc:picChg>
        <pc:sldLayoutChg chg="addSp">
          <pc:chgData name="Luca Ricci" userId="ee5f09d5-0832-4e68-94c9-d8bfd2ad04f0" providerId="ADAL" clId="{D501E5E2-574F-6542-B665-A334471D5578}" dt="2023-12-18T08:27:21.980" v="447"/>
          <pc:sldLayoutMkLst>
            <pc:docMk/>
            <pc:sldMasterMk cId="2244155654" sldId="2147483772"/>
            <pc:sldLayoutMk cId="1608651427" sldId="2147483778"/>
          </pc:sldLayoutMkLst>
          <pc:spChg chg="add">
            <ac:chgData name="Luca Ricci" userId="ee5f09d5-0832-4e68-94c9-d8bfd2ad04f0" providerId="ADAL" clId="{D501E5E2-574F-6542-B665-A334471D5578}" dt="2023-12-18T08:27:21.980" v="447"/>
            <ac:spMkLst>
              <pc:docMk/>
              <pc:sldMasterMk cId="2244155654" sldId="2147483772"/>
              <pc:sldLayoutMk cId="1608651427" sldId="2147483778"/>
              <ac:spMk id="6" creationId="{13795B8F-CCC8-AE03-E14E-A39353485841}"/>
            </ac:spMkLst>
          </pc:spChg>
        </pc:sldLayoutChg>
      </pc:sldMasterChg>
    </pc:docChg>
  </pc:docChgLst>
  <pc:docChgLst>
    <pc:chgData name="Luca Ricci" userId="ee5f09d5-0832-4e68-94c9-d8bfd2ad04f0" providerId="ADAL" clId="{F3F70FB2-95DD-B847-876B-923D773418E8}"/>
    <pc:docChg chg="undo custSel modSld">
      <pc:chgData name="Luca Ricci" userId="ee5f09d5-0832-4e68-94c9-d8bfd2ad04f0" providerId="ADAL" clId="{F3F70FB2-95DD-B847-876B-923D773418E8}" dt="2024-01-24T12:14:17.214" v="1995" actId="20577"/>
      <pc:docMkLst>
        <pc:docMk/>
      </pc:docMkLst>
      <pc:sldChg chg="addSp modSp mod modNotesTx">
        <pc:chgData name="Luca Ricci" userId="ee5f09d5-0832-4e68-94c9-d8bfd2ad04f0" providerId="ADAL" clId="{F3F70FB2-95DD-B847-876B-923D773418E8}" dt="2024-01-24T11:27:27.479" v="1849" actId="20577"/>
        <pc:sldMkLst>
          <pc:docMk/>
          <pc:sldMk cId="4109715435" sldId="313"/>
        </pc:sldMkLst>
        <pc:spChg chg="mod">
          <ac:chgData name="Luca Ricci" userId="ee5f09d5-0832-4e68-94c9-d8bfd2ad04f0" providerId="ADAL" clId="{F3F70FB2-95DD-B847-876B-923D773418E8}" dt="2024-01-24T11:27:27.479" v="1849" actId="20577"/>
          <ac:spMkLst>
            <pc:docMk/>
            <pc:sldMk cId="4109715435" sldId="313"/>
            <ac:spMk id="7" creationId="{8ED043E4-ED32-1DA9-33FC-E4B34D009A79}"/>
          </ac:spMkLst>
        </pc:spChg>
        <pc:picChg chg="add mod">
          <ac:chgData name="Luca Ricci" userId="ee5f09d5-0832-4e68-94c9-d8bfd2ad04f0" providerId="ADAL" clId="{F3F70FB2-95DD-B847-876B-923D773418E8}" dt="2024-01-24T11:10:02.159" v="908" actId="14826"/>
          <ac:picMkLst>
            <pc:docMk/>
            <pc:sldMk cId="4109715435" sldId="313"/>
            <ac:picMk id="6" creationId="{D37BEAA7-4947-D58A-0AB1-0CF1468F6DBA}"/>
          </ac:picMkLst>
        </pc:picChg>
      </pc:sldChg>
      <pc:sldChg chg="modSp">
        <pc:chgData name="Luca Ricci" userId="ee5f09d5-0832-4e68-94c9-d8bfd2ad04f0" providerId="ADAL" clId="{F3F70FB2-95DD-B847-876B-923D773418E8}" dt="2024-01-24T11:10:02.159" v="908" actId="14826"/>
        <pc:sldMkLst>
          <pc:docMk/>
          <pc:sldMk cId="2059814184" sldId="314"/>
        </pc:sldMkLst>
        <pc:spChg chg="mod">
          <ac:chgData name="Luca Ricci" userId="ee5f09d5-0832-4e68-94c9-d8bfd2ad04f0" providerId="ADAL" clId="{F3F70FB2-95DD-B847-876B-923D773418E8}" dt="2024-01-24T11:10:02.159" v="908" actId="14826"/>
          <ac:spMkLst>
            <pc:docMk/>
            <pc:sldMk cId="2059814184" sldId="314"/>
            <ac:spMk id="5" creationId="{455070FB-8C32-F7F3-CE34-8A53AF8479B2}"/>
          </ac:spMkLst>
        </pc:spChg>
      </pc:sldChg>
      <pc:sldChg chg="modSp mod">
        <pc:chgData name="Luca Ricci" userId="ee5f09d5-0832-4e68-94c9-d8bfd2ad04f0" providerId="ADAL" clId="{F3F70FB2-95DD-B847-876B-923D773418E8}" dt="2024-01-24T12:14:17.214" v="1995" actId="20577"/>
        <pc:sldMkLst>
          <pc:docMk/>
          <pc:sldMk cId="2060001824" sldId="316"/>
        </pc:sldMkLst>
        <pc:spChg chg="mod">
          <ac:chgData name="Luca Ricci" userId="ee5f09d5-0832-4e68-94c9-d8bfd2ad04f0" providerId="ADAL" clId="{F3F70FB2-95DD-B847-876B-923D773418E8}" dt="2024-01-24T12:14:17.214" v="1995" actId="20577"/>
          <ac:spMkLst>
            <pc:docMk/>
            <pc:sldMk cId="2060001824" sldId="316"/>
            <ac:spMk id="5" creationId="{4D8C1AFE-9FC8-D964-65F9-2D18A5E0163C}"/>
          </ac:spMkLst>
        </pc:spChg>
      </pc:sldChg>
      <pc:sldChg chg="modNotesTx">
        <pc:chgData name="Luca Ricci" userId="ee5f09d5-0832-4e68-94c9-d8bfd2ad04f0" providerId="ADAL" clId="{F3F70FB2-95DD-B847-876B-923D773418E8}" dt="2024-01-24T11:28:26.623" v="1991" actId="20577"/>
        <pc:sldMkLst>
          <pc:docMk/>
          <pc:sldMk cId="4110969131" sldId="317"/>
        </pc:sldMkLst>
      </pc:sldChg>
    </pc:docChg>
  </pc:docChgLst>
  <pc:docChgLst>
    <pc:chgData name="Gabriele Zanoletti" userId="fc6666fa-3441-4ddc-a8b9-f69fbbdf5644" providerId="ADAL" clId="{62353DCA-C895-479A-B15A-153889A74D3C}"/>
    <pc:docChg chg="undo custSel modSld">
      <pc:chgData name="Gabriele Zanoletti" userId="fc6666fa-3441-4ddc-a8b9-f69fbbdf5644" providerId="ADAL" clId="{62353DCA-C895-479A-B15A-153889A74D3C}" dt="2024-01-24T22:46:25.249" v="3063"/>
      <pc:docMkLst>
        <pc:docMk/>
      </pc:docMkLst>
      <pc:sldChg chg="modNotesTx">
        <pc:chgData name="Gabriele Zanoletti" userId="fc6666fa-3441-4ddc-a8b9-f69fbbdf5644" providerId="ADAL" clId="{62353DCA-C895-479A-B15A-153889A74D3C}" dt="2024-01-24T22:46:25.249" v="3063"/>
        <pc:sldMkLst>
          <pc:docMk/>
          <pc:sldMk cId="895135860" sldId="257"/>
        </pc:sldMkLst>
      </pc:sldChg>
      <pc:sldChg chg="modNotesTx">
        <pc:chgData name="Gabriele Zanoletti" userId="fc6666fa-3441-4ddc-a8b9-f69fbbdf5644" providerId="ADAL" clId="{62353DCA-C895-479A-B15A-153889A74D3C}" dt="2024-01-24T21:14:20.060" v="812" actId="20577"/>
        <pc:sldMkLst>
          <pc:docMk/>
          <pc:sldMk cId="3601296254" sldId="258"/>
        </pc:sldMkLst>
      </pc:sldChg>
      <pc:sldChg chg="modNotesTx">
        <pc:chgData name="Gabriele Zanoletti" userId="fc6666fa-3441-4ddc-a8b9-f69fbbdf5644" providerId="ADAL" clId="{62353DCA-C895-479A-B15A-153889A74D3C}" dt="2024-01-24T21:16:10.389" v="840" actId="20577"/>
        <pc:sldMkLst>
          <pc:docMk/>
          <pc:sldMk cId="994454846" sldId="291"/>
        </pc:sldMkLst>
      </pc:sldChg>
      <pc:sldChg chg="addSp delSp mod modNotesTx">
        <pc:chgData name="Gabriele Zanoletti" userId="fc6666fa-3441-4ddc-a8b9-f69fbbdf5644" providerId="ADAL" clId="{62353DCA-C895-479A-B15A-153889A74D3C}" dt="2024-01-24T21:18:02.422" v="880" actId="20577"/>
        <pc:sldMkLst>
          <pc:docMk/>
          <pc:sldMk cId="3241623441" sldId="292"/>
        </pc:sldMkLst>
        <pc:spChg chg="add del">
          <ac:chgData name="Gabriele Zanoletti" userId="fc6666fa-3441-4ddc-a8b9-f69fbbdf5644" providerId="ADAL" clId="{62353DCA-C895-479A-B15A-153889A74D3C}" dt="2024-01-24T21:16:41.539" v="842" actId="22"/>
          <ac:spMkLst>
            <pc:docMk/>
            <pc:sldMk cId="3241623441" sldId="292"/>
            <ac:spMk id="7" creationId="{77C9FEA5-E52B-47A7-412A-47821187B3FF}"/>
          </ac:spMkLst>
        </pc:spChg>
      </pc:sldChg>
      <pc:sldChg chg="addSp delSp mod modNotesTx">
        <pc:chgData name="Gabriele Zanoletti" userId="fc6666fa-3441-4ddc-a8b9-f69fbbdf5644" providerId="ADAL" clId="{62353DCA-C895-479A-B15A-153889A74D3C}" dt="2024-01-24T21:19:02.544" v="894" actId="20577"/>
        <pc:sldMkLst>
          <pc:docMk/>
          <pc:sldMk cId="692283471" sldId="293"/>
        </pc:sldMkLst>
        <pc:spChg chg="add del">
          <ac:chgData name="Gabriele Zanoletti" userId="fc6666fa-3441-4ddc-a8b9-f69fbbdf5644" providerId="ADAL" clId="{62353DCA-C895-479A-B15A-153889A74D3C}" dt="2024-01-24T21:18:27.540" v="882" actId="22"/>
          <ac:spMkLst>
            <pc:docMk/>
            <pc:sldMk cId="692283471" sldId="293"/>
            <ac:spMk id="6" creationId="{4826B78A-D5EE-97BE-37B3-AAE0ABFAB5D5}"/>
          </ac:spMkLst>
        </pc:spChg>
      </pc:sldChg>
      <pc:sldChg chg="modNotesTx">
        <pc:chgData name="Gabriele Zanoletti" userId="fc6666fa-3441-4ddc-a8b9-f69fbbdf5644" providerId="ADAL" clId="{62353DCA-C895-479A-B15A-153889A74D3C}" dt="2024-01-24T21:20:47.543" v="922" actId="20577"/>
        <pc:sldMkLst>
          <pc:docMk/>
          <pc:sldMk cId="2858633819" sldId="294"/>
        </pc:sldMkLst>
      </pc:sldChg>
      <pc:sldChg chg="modNotesTx">
        <pc:chgData name="Gabriele Zanoletti" userId="fc6666fa-3441-4ddc-a8b9-f69fbbdf5644" providerId="ADAL" clId="{62353DCA-C895-479A-B15A-153889A74D3C}" dt="2024-01-24T21:25:55.345" v="984" actId="20577"/>
        <pc:sldMkLst>
          <pc:docMk/>
          <pc:sldMk cId="1570471128" sldId="296"/>
        </pc:sldMkLst>
      </pc:sldChg>
      <pc:sldChg chg="modNotesTx">
        <pc:chgData name="Gabriele Zanoletti" userId="fc6666fa-3441-4ddc-a8b9-f69fbbdf5644" providerId="ADAL" clId="{62353DCA-C895-479A-B15A-153889A74D3C}" dt="2024-01-24T21:26:25.158" v="1001" actId="20577"/>
        <pc:sldMkLst>
          <pc:docMk/>
          <pc:sldMk cId="1604505303" sldId="297"/>
        </pc:sldMkLst>
      </pc:sldChg>
      <pc:sldChg chg="modNotesTx">
        <pc:chgData name="Gabriele Zanoletti" userId="fc6666fa-3441-4ddc-a8b9-f69fbbdf5644" providerId="ADAL" clId="{62353DCA-C895-479A-B15A-153889A74D3C}" dt="2024-01-24T21:38:42.554" v="1526" actId="20577"/>
        <pc:sldMkLst>
          <pc:docMk/>
          <pc:sldMk cId="1968516981" sldId="301"/>
        </pc:sldMkLst>
      </pc:sldChg>
      <pc:sldChg chg="modNotesTx">
        <pc:chgData name="Gabriele Zanoletti" userId="fc6666fa-3441-4ddc-a8b9-f69fbbdf5644" providerId="ADAL" clId="{62353DCA-C895-479A-B15A-153889A74D3C}" dt="2024-01-24T21:40:51.526" v="1550" actId="20577"/>
        <pc:sldMkLst>
          <pc:docMk/>
          <pc:sldMk cId="3837282433" sldId="302"/>
        </pc:sldMkLst>
      </pc:sldChg>
      <pc:sldChg chg="modNotesTx">
        <pc:chgData name="Gabriele Zanoletti" userId="fc6666fa-3441-4ddc-a8b9-f69fbbdf5644" providerId="ADAL" clId="{62353DCA-C895-479A-B15A-153889A74D3C}" dt="2024-01-24T21:41:36.546" v="1562" actId="20577"/>
        <pc:sldMkLst>
          <pc:docMk/>
          <pc:sldMk cId="786950877" sldId="303"/>
        </pc:sldMkLst>
      </pc:sldChg>
      <pc:sldChg chg="addSp delSp modSp mod modNotesTx">
        <pc:chgData name="Gabriele Zanoletti" userId="fc6666fa-3441-4ddc-a8b9-f69fbbdf5644" providerId="ADAL" clId="{62353DCA-C895-479A-B15A-153889A74D3C}" dt="2024-01-24T21:42:35.326" v="1581" actId="20577"/>
        <pc:sldMkLst>
          <pc:docMk/>
          <pc:sldMk cId="4147670638" sldId="304"/>
        </pc:sldMkLst>
        <pc:spChg chg="mod">
          <ac:chgData name="Gabriele Zanoletti" userId="fc6666fa-3441-4ddc-a8b9-f69fbbdf5644" providerId="ADAL" clId="{62353DCA-C895-479A-B15A-153889A74D3C}" dt="2024-01-24T19:11:25.886" v="31" actId="1076"/>
          <ac:spMkLst>
            <pc:docMk/>
            <pc:sldMk cId="4147670638" sldId="304"/>
            <ac:spMk id="2" creationId="{06675B17-37D5-6F32-A9A2-60EF4BB95C5E}"/>
          </ac:spMkLst>
        </pc:spChg>
        <pc:picChg chg="del">
          <ac:chgData name="Gabriele Zanoletti" userId="fc6666fa-3441-4ddc-a8b9-f69fbbdf5644" providerId="ADAL" clId="{62353DCA-C895-479A-B15A-153889A74D3C}" dt="2024-01-24T19:11:30.629" v="33" actId="478"/>
          <ac:picMkLst>
            <pc:docMk/>
            <pc:sldMk cId="4147670638" sldId="304"/>
            <ac:picMk id="7" creationId="{D180DF65-E1D6-19AE-3679-246BD75F1FC2}"/>
          </ac:picMkLst>
        </pc:picChg>
        <pc:picChg chg="add mod">
          <ac:chgData name="Gabriele Zanoletti" userId="fc6666fa-3441-4ddc-a8b9-f69fbbdf5644" providerId="ADAL" clId="{62353DCA-C895-479A-B15A-153889A74D3C}" dt="2024-01-24T19:11:38.567" v="67" actId="1038"/>
          <ac:picMkLst>
            <pc:docMk/>
            <pc:sldMk cId="4147670638" sldId="304"/>
            <ac:picMk id="8" creationId="{42C37590-7083-DAFC-391E-C22F26B04BD3}"/>
          </ac:picMkLst>
        </pc:picChg>
      </pc:sldChg>
      <pc:sldChg chg="modNotesTx">
        <pc:chgData name="Gabriele Zanoletti" userId="fc6666fa-3441-4ddc-a8b9-f69fbbdf5644" providerId="ADAL" clId="{62353DCA-C895-479A-B15A-153889A74D3C}" dt="2024-01-24T21:45:21.840" v="1609" actId="20577"/>
        <pc:sldMkLst>
          <pc:docMk/>
          <pc:sldMk cId="2129748764" sldId="305"/>
        </pc:sldMkLst>
      </pc:sldChg>
      <pc:sldChg chg="modSp modNotesTx">
        <pc:chgData name="Gabriele Zanoletti" userId="fc6666fa-3441-4ddc-a8b9-f69fbbdf5644" providerId="ADAL" clId="{62353DCA-C895-479A-B15A-153889A74D3C}" dt="2024-01-24T21:44:25.471" v="1600" actId="20577"/>
        <pc:sldMkLst>
          <pc:docMk/>
          <pc:sldMk cId="4004401706" sldId="306"/>
        </pc:sldMkLst>
        <pc:spChg chg="mod">
          <ac:chgData name="Gabriele Zanoletti" userId="fc6666fa-3441-4ddc-a8b9-f69fbbdf5644" providerId="ADAL" clId="{62353DCA-C895-479A-B15A-153889A74D3C}" dt="2024-01-24T21:44:25.471" v="1600" actId="20577"/>
          <ac:spMkLst>
            <pc:docMk/>
            <pc:sldMk cId="4004401706" sldId="306"/>
            <ac:spMk id="5" creationId="{F202072E-E5BB-41E3-28BB-7119B8E72D45}"/>
          </ac:spMkLst>
        </pc:spChg>
      </pc:sldChg>
      <pc:sldChg chg="modNotesTx">
        <pc:chgData name="Gabriele Zanoletti" userId="fc6666fa-3441-4ddc-a8b9-f69fbbdf5644" providerId="ADAL" clId="{62353DCA-C895-479A-B15A-153889A74D3C}" dt="2024-01-24T21:47:28.679" v="1628" actId="20577"/>
        <pc:sldMkLst>
          <pc:docMk/>
          <pc:sldMk cId="3230328343" sldId="307"/>
        </pc:sldMkLst>
      </pc:sldChg>
      <pc:sldChg chg="modNotesTx">
        <pc:chgData name="Gabriele Zanoletti" userId="fc6666fa-3441-4ddc-a8b9-f69fbbdf5644" providerId="ADAL" clId="{62353DCA-C895-479A-B15A-153889A74D3C}" dt="2024-01-24T21:47:56.130" v="1632" actId="20577"/>
        <pc:sldMkLst>
          <pc:docMk/>
          <pc:sldMk cId="3362905413" sldId="308"/>
        </pc:sldMkLst>
      </pc:sldChg>
      <pc:sldChg chg="modNotesTx">
        <pc:chgData name="Gabriele Zanoletti" userId="fc6666fa-3441-4ddc-a8b9-f69fbbdf5644" providerId="ADAL" clId="{62353DCA-C895-479A-B15A-153889A74D3C}" dt="2024-01-24T21:54:03.161" v="1739" actId="20577"/>
        <pc:sldMkLst>
          <pc:docMk/>
          <pc:sldMk cId="3056404990" sldId="310"/>
        </pc:sldMkLst>
      </pc:sldChg>
      <pc:sldChg chg="modNotesTx">
        <pc:chgData name="Gabriele Zanoletti" userId="fc6666fa-3441-4ddc-a8b9-f69fbbdf5644" providerId="ADAL" clId="{62353DCA-C895-479A-B15A-153889A74D3C}" dt="2024-01-24T22:32:49.389" v="2654"/>
        <pc:sldMkLst>
          <pc:docMk/>
          <pc:sldMk cId="2059814184" sldId="314"/>
        </pc:sldMkLst>
      </pc:sldChg>
      <pc:sldChg chg="modNotesTx">
        <pc:chgData name="Gabriele Zanoletti" userId="fc6666fa-3441-4ddc-a8b9-f69fbbdf5644" providerId="ADAL" clId="{62353DCA-C895-479A-B15A-153889A74D3C}" dt="2024-01-24T22:34:49.896" v="2671" actId="20577"/>
        <pc:sldMkLst>
          <pc:docMk/>
          <pc:sldMk cId="3439177903" sldId="315"/>
        </pc:sldMkLst>
      </pc:sldChg>
      <pc:sldChg chg="modNotesTx">
        <pc:chgData name="Gabriele Zanoletti" userId="fc6666fa-3441-4ddc-a8b9-f69fbbdf5644" providerId="ADAL" clId="{62353DCA-C895-479A-B15A-153889A74D3C}" dt="2024-01-24T22:39:45.252" v="2989" actId="20577"/>
        <pc:sldMkLst>
          <pc:docMk/>
          <pc:sldMk cId="2060001824" sldId="316"/>
        </pc:sldMkLst>
      </pc:sldChg>
      <pc:sldChg chg="modSp mod modNotesTx">
        <pc:chgData name="Gabriele Zanoletti" userId="fc6666fa-3441-4ddc-a8b9-f69fbbdf5644" providerId="ADAL" clId="{62353DCA-C895-479A-B15A-153889A74D3C}" dt="2024-01-24T22:38:21.114" v="2882" actId="20577"/>
        <pc:sldMkLst>
          <pc:docMk/>
          <pc:sldMk cId="4110969131" sldId="317"/>
        </pc:sldMkLst>
        <pc:spChg chg="mod">
          <ac:chgData name="Gabriele Zanoletti" userId="fc6666fa-3441-4ddc-a8b9-f69fbbdf5644" providerId="ADAL" clId="{62353DCA-C895-479A-B15A-153889A74D3C}" dt="2024-01-24T22:36:28.240" v="2703" actId="20577"/>
          <ac:spMkLst>
            <pc:docMk/>
            <pc:sldMk cId="4110969131" sldId="317"/>
            <ac:spMk id="7" creationId="{D824FBDC-48AD-8E79-49CA-B3208ABD485D}"/>
          </ac:spMkLst>
        </pc:spChg>
      </pc:sldChg>
      <pc:sldChg chg="modNotesTx">
        <pc:chgData name="Gabriele Zanoletti" userId="fc6666fa-3441-4ddc-a8b9-f69fbbdf5644" providerId="ADAL" clId="{62353DCA-C895-479A-B15A-153889A74D3C}" dt="2024-01-24T22:41:35.888" v="2991" actId="20577"/>
        <pc:sldMkLst>
          <pc:docMk/>
          <pc:sldMk cId="2600840893" sldId="319"/>
        </pc:sldMkLst>
      </pc:sldChg>
      <pc:sldChg chg="modNotesTx">
        <pc:chgData name="Gabriele Zanoletti" userId="fc6666fa-3441-4ddc-a8b9-f69fbbdf5644" providerId="ADAL" clId="{62353DCA-C895-479A-B15A-153889A74D3C}" dt="2024-01-24T22:43:42.779" v="3002" actId="20577"/>
        <pc:sldMkLst>
          <pc:docMk/>
          <pc:sldMk cId="2371849535" sldId="320"/>
        </pc:sldMkLst>
      </pc:sldChg>
      <pc:sldChg chg="modNotesTx">
        <pc:chgData name="Gabriele Zanoletti" userId="fc6666fa-3441-4ddc-a8b9-f69fbbdf5644" providerId="ADAL" clId="{62353DCA-C895-479A-B15A-153889A74D3C}" dt="2024-01-24T21:28:22.533" v="1133" actId="20577"/>
        <pc:sldMkLst>
          <pc:docMk/>
          <pc:sldMk cId="902660526" sldId="322"/>
        </pc:sldMkLst>
      </pc:sldChg>
      <pc:sldChg chg="modNotesTx">
        <pc:chgData name="Gabriele Zanoletti" userId="fc6666fa-3441-4ddc-a8b9-f69fbbdf5644" providerId="ADAL" clId="{62353DCA-C895-479A-B15A-153889A74D3C}" dt="2024-01-24T21:46:06.976" v="1610"/>
        <pc:sldMkLst>
          <pc:docMk/>
          <pc:sldMk cId="3702300545" sldId="323"/>
        </pc:sldMkLst>
      </pc:sldChg>
      <pc:sldChg chg="modNotesTx">
        <pc:chgData name="Gabriele Zanoletti" userId="fc6666fa-3441-4ddc-a8b9-f69fbbdf5644" providerId="ADAL" clId="{62353DCA-C895-479A-B15A-153889A74D3C}" dt="2024-01-24T22:32:53.550" v="2655"/>
        <pc:sldMkLst>
          <pc:docMk/>
          <pc:sldMk cId="2885120835" sldId="324"/>
        </pc:sldMkLst>
      </pc:sldChg>
      <pc:sldChg chg="modNotesTx">
        <pc:chgData name="Gabriele Zanoletti" userId="fc6666fa-3441-4ddc-a8b9-f69fbbdf5644" providerId="ADAL" clId="{62353DCA-C895-479A-B15A-153889A74D3C}" dt="2024-01-24T22:43:59.001" v="3003"/>
        <pc:sldMkLst>
          <pc:docMk/>
          <pc:sldMk cId="2835239964" sldId="325"/>
        </pc:sldMkLst>
      </pc:sldChg>
      <pc:sldChg chg="modNotesTx">
        <pc:chgData name="Gabriele Zanoletti" userId="fc6666fa-3441-4ddc-a8b9-f69fbbdf5644" providerId="ADAL" clId="{62353DCA-C895-479A-B15A-153889A74D3C}" dt="2024-01-24T22:46:05.184" v="3036" actId="20577"/>
        <pc:sldMkLst>
          <pc:docMk/>
          <pc:sldMk cId="1343076952" sldId="326"/>
        </pc:sldMkLst>
      </pc:sldChg>
      <pc:sldChg chg="modNotesTx">
        <pc:chgData name="Gabriele Zanoletti" userId="fc6666fa-3441-4ddc-a8b9-f69fbbdf5644" providerId="ADAL" clId="{62353DCA-C895-479A-B15A-153889A74D3C}" dt="2024-01-24T21:23:10.552" v="952" actId="20577"/>
        <pc:sldMkLst>
          <pc:docMk/>
          <pc:sldMk cId="897985928" sldId="332"/>
        </pc:sldMkLst>
      </pc:sldChg>
      <pc:sldChg chg="modSp mod modNotesTx">
        <pc:chgData name="Gabriele Zanoletti" userId="fc6666fa-3441-4ddc-a8b9-f69fbbdf5644" providerId="ADAL" clId="{62353DCA-C895-479A-B15A-153889A74D3C}" dt="2024-01-24T21:34:41.141" v="1313" actId="20577"/>
        <pc:sldMkLst>
          <pc:docMk/>
          <pc:sldMk cId="1171648230" sldId="333"/>
        </pc:sldMkLst>
        <pc:spChg chg="mod">
          <ac:chgData name="Gabriele Zanoletti" userId="fc6666fa-3441-4ddc-a8b9-f69fbbdf5644" providerId="ADAL" clId="{62353DCA-C895-479A-B15A-153889A74D3C}" dt="2024-01-24T19:07:01.906" v="1" actId="20577"/>
          <ac:spMkLst>
            <pc:docMk/>
            <pc:sldMk cId="1171648230" sldId="333"/>
            <ac:spMk id="9" creationId="{E3501211-943E-D7DB-4B3A-FE3E784A94F5}"/>
          </ac:spMkLst>
        </pc:spChg>
      </pc:sldChg>
      <pc:sldChg chg="modNotesTx">
        <pc:chgData name="Gabriele Zanoletti" userId="fc6666fa-3441-4ddc-a8b9-f69fbbdf5644" providerId="ADAL" clId="{62353DCA-C895-479A-B15A-153889A74D3C}" dt="2024-01-24T22:46:20.941" v="3062" actId="20577"/>
        <pc:sldMkLst>
          <pc:docMk/>
          <pc:sldMk cId="1998290092" sldId="334"/>
        </pc:sldMkLst>
      </pc:sldChg>
      <pc:sldChg chg="modNotesTx">
        <pc:chgData name="Gabriele Zanoletti" userId="fc6666fa-3441-4ddc-a8b9-f69fbbdf5644" providerId="ADAL" clId="{62353DCA-C895-479A-B15A-153889A74D3C}" dt="2024-01-24T21:49:50.697" v="1634" actId="20577"/>
        <pc:sldMkLst>
          <pc:docMk/>
          <pc:sldMk cId="2832553207" sldId="335"/>
        </pc:sldMkLst>
      </pc:sldChg>
      <pc:sldChg chg="modNotesTx">
        <pc:chgData name="Gabriele Zanoletti" userId="fc6666fa-3441-4ddc-a8b9-f69fbbdf5644" providerId="ADAL" clId="{62353DCA-C895-479A-B15A-153889A74D3C}" dt="2024-01-24T21:58:55.134" v="1745"/>
        <pc:sldMkLst>
          <pc:docMk/>
          <pc:sldMk cId="349029065" sldId="336"/>
        </pc:sldMkLst>
      </pc:sldChg>
      <pc:sldChg chg="modNotesTx">
        <pc:chgData name="Gabriele Zanoletti" userId="fc6666fa-3441-4ddc-a8b9-f69fbbdf5644" providerId="ADAL" clId="{62353DCA-C895-479A-B15A-153889A74D3C}" dt="2024-01-24T21:51:13.635" v="1636" actId="20577"/>
        <pc:sldMkLst>
          <pc:docMk/>
          <pc:sldMk cId="3040321551" sldId="337"/>
        </pc:sldMkLst>
      </pc:sldChg>
      <pc:sldChg chg="modNotesTx">
        <pc:chgData name="Gabriele Zanoletti" userId="fc6666fa-3441-4ddc-a8b9-f69fbbdf5644" providerId="ADAL" clId="{62353DCA-C895-479A-B15A-153889A74D3C}" dt="2024-01-24T22:32:22.085" v="2653" actId="20577"/>
        <pc:sldMkLst>
          <pc:docMk/>
          <pc:sldMk cId="3682762768" sldId="338"/>
        </pc:sldMkLst>
      </pc:sldChg>
      <pc:sldChg chg="modNotesTx">
        <pc:chgData name="Gabriele Zanoletti" userId="fc6666fa-3441-4ddc-a8b9-f69fbbdf5644" providerId="ADAL" clId="{62353DCA-C895-479A-B15A-153889A74D3C}" dt="2024-01-24T22:17:07.270" v="2366" actId="20577"/>
        <pc:sldMkLst>
          <pc:docMk/>
          <pc:sldMk cId="1233919258" sldId="340"/>
        </pc:sldMkLst>
      </pc:sldChg>
      <pc:sldChg chg="modNotesTx">
        <pc:chgData name="Gabriele Zanoletti" userId="fc6666fa-3441-4ddc-a8b9-f69fbbdf5644" providerId="ADAL" clId="{62353DCA-C895-479A-B15A-153889A74D3C}" dt="2024-01-24T22:14:02.830" v="2352" actId="20577"/>
        <pc:sldMkLst>
          <pc:docMk/>
          <pc:sldMk cId="2889248117" sldId="341"/>
        </pc:sldMkLst>
      </pc:sldChg>
      <pc:sldChg chg="modNotesTx">
        <pc:chgData name="Gabriele Zanoletti" userId="fc6666fa-3441-4ddc-a8b9-f69fbbdf5644" providerId="ADAL" clId="{62353DCA-C895-479A-B15A-153889A74D3C}" dt="2024-01-24T22:19:27.654" v="2369" actId="20577"/>
        <pc:sldMkLst>
          <pc:docMk/>
          <pc:sldMk cId="3557329851" sldId="343"/>
        </pc:sldMkLst>
      </pc:sldChg>
      <pc:sldChg chg="modNotesTx">
        <pc:chgData name="Gabriele Zanoletti" userId="fc6666fa-3441-4ddc-a8b9-f69fbbdf5644" providerId="ADAL" clId="{62353DCA-C895-479A-B15A-153889A74D3C}" dt="2024-01-24T22:23:09.753" v="2390" actId="20577"/>
        <pc:sldMkLst>
          <pc:docMk/>
          <pc:sldMk cId="556406102" sldId="344"/>
        </pc:sldMkLst>
      </pc:sldChg>
      <pc:sldChg chg="modNotesTx">
        <pc:chgData name="Gabriele Zanoletti" userId="fc6666fa-3441-4ddc-a8b9-f69fbbdf5644" providerId="ADAL" clId="{62353DCA-C895-479A-B15A-153889A74D3C}" dt="2024-01-24T22:05:18.968" v="2245" actId="20577"/>
        <pc:sldMkLst>
          <pc:docMk/>
          <pc:sldMk cId="782384403" sldId="345"/>
        </pc:sldMkLst>
      </pc:sldChg>
      <pc:sldChg chg="modSp mod modNotesTx">
        <pc:chgData name="Gabriele Zanoletti" userId="fc6666fa-3441-4ddc-a8b9-f69fbbdf5644" providerId="ADAL" clId="{62353DCA-C895-479A-B15A-153889A74D3C}" dt="2024-01-24T21:34:56.829" v="1314"/>
        <pc:sldMkLst>
          <pc:docMk/>
          <pc:sldMk cId="977858740" sldId="346"/>
        </pc:sldMkLst>
        <pc:spChg chg="mod">
          <ac:chgData name="Gabriele Zanoletti" userId="fc6666fa-3441-4ddc-a8b9-f69fbbdf5644" providerId="ADAL" clId="{62353DCA-C895-479A-B15A-153889A74D3C}" dt="2024-01-24T19:07:18.449" v="3" actId="20577"/>
          <ac:spMkLst>
            <pc:docMk/>
            <pc:sldMk cId="977858740" sldId="346"/>
            <ac:spMk id="9" creationId="{19292DEC-E042-C94B-D5E2-2199F0015849}"/>
          </ac:spMkLst>
        </pc:spChg>
      </pc:sldChg>
      <pc:sldChg chg="modNotesTx">
        <pc:chgData name="Gabriele Zanoletti" userId="fc6666fa-3441-4ddc-a8b9-f69fbbdf5644" providerId="ADAL" clId="{62353DCA-C895-479A-B15A-153889A74D3C}" dt="2024-01-24T21:13:34.440" v="810" actId="20577"/>
        <pc:sldMkLst>
          <pc:docMk/>
          <pc:sldMk cId="252918147" sldId="347"/>
        </pc:sldMkLst>
      </pc:sldChg>
    </pc:docChg>
  </pc:docChgLst>
</pc:chgInfo>
</file>

<file path=ppt/handoutMasters/_rels/handoutMaster1.xml.rels><?xml version="1.0" encoding="UTF-8" standalone="yes"?>
<Relationships xmlns="http://schemas.openxmlformats.org/package/2006/relationships"><Relationship Id="rId8" Type="http://schemas.openxmlformats.org/officeDocument/2006/relationships/tags" Target="../tags/tag204.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2.png"/><Relationship Id="rId2" Type="http://schemas.openxmlformats.org/officeDocument/2006/relationships/tags" Target="../tags/tag198.xml"/><Relationship Id="rId1" Type="http://schemas.openxmlformats.org/officeDocument/2006/relationships/theme" Target="../theme/theme3.xml"/><Relationship Id="rId6" Type="http://schemas.openxmlformats.org/officeDocument/2006/relationships/tags" Target="../tags/tag202.xml"/><Relationship Id="rId11" Type="http://schemas.openxmlformats.org/officeDocument/2006/relationships/tags" Target="../tags/tag207.xml"/><Relationship Id="rId5" Type="http://schemas.openxmlformats.org/officeDocument/2006/relationships/tags" Target="../tags/tag201.xml"/><Relationship Id="rId10" Type="http://schemas.openxmlformats.org/officeDocument/2006/relationships/tags" Target="../tags/tag206.xml"/><Relationship Id="rId4" Type="http://schemas.openxmlformats.org/officeDocument/2006/relationships/tags" Target="../tags/tag200.xml"/><Relationship Id="rId9" Type="http://schemas.openxmlformats.org/officeDocument/2006/relationships/tags" Target="../tags/tag20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200">
                <a:latin typeface="Tahoma" pitchFamily="34" charset="0"/>
              </a:defRPr>
            </a:lvl1pPr>
          </a:lstStyle>
          <a:p>
            <a:endParaRPr lang="en-US" sz="100">
              <a:noFill/>
              <a:latin typeface="Arial" panose="020B0604020202020204" pitchFamily="34" charset="0"/>
              <a:cs typeface="Arial" panose="020B0604020202020204" pitchFamily="34" charset="0"/>
            </a:endParaRPr>
          </a:p>
        </p:txBody>
      </p:sp>
      <p:sp>
        <p:nvSpPr>
          <p:cNvPr id="7" name="Footer Placeholder" hidden="1"/>
          <p:cNvSpPr>
            <a:spLocks noGrp="1"/>
          </p:cNvSpPr>
          <p:nvPr>
            <p:ph type="ftr" sz="quarter" idx="2"/>
            <p:custDataLst>
              <p:tags r:id="rId3"/>
            </p:custDataLst>
          </p:nvPr>
        </p:nvSpPr>
        <p:spPr>
          <a:xfrm>
            <a:off x="7099300" y="10234613"/>
            <a:ext cx="0" cy="0"/>
          </a:xfrm>
          <a:prstGeom prst="rect">
            <a:avLst/>
          </a:prstGeom>
        </p:spPr>
        <p:txBody>
          <a:bodyPr vert="horz" lIns="91440" tIns="45720" rIns="91440" bIns="45720" rtlCol="0" anchor="ctr"/>
          <a:lstStyle>
            <a:lvl1pPr algn="l">
              <a:defRPr sz="1200"/>
            </a:lvl1pPr>
          </a:lstStyle>
          <a:p>
            <a:pPr algn="ctr"/>
            <a:r>
              <a:rPr lang="en-US" sz="100">
                <a:noFill/>
                <a:latin typeface="Arial" panose="020B0604020202020204" pitchFamily="34" charset="0"/>
                <a:ea typeface="Verdana" pitchFamily="34" charset="0"/>
                <a:cs typeface="Arial" panose="020B0604020202020204" pitchFamily="34" charset="0"/>
              </a:rPr>
              <a:t>Copyright © Infineon Technologies AG 2020. All rights reserved.</a:t>
            </a:r>
          </a:p>
          <a:p>
            <a:pPr algn="ctr"/>
            <a:r>
              <a:rPr lang="en-US" sz="100" b="1">
                <a:noFill/>
                <a:latin typeface="Arial" panose="020B0604020202020204" pitchFamily="34" charset="0"/>
                <a:ea typeface="Verdana" pitchFamily="34" charset="0"/>
                <a:cs typeface="Arial" panose="020B0604020202020204" pitchFamily="34" charset="0"/>
              </a:rPr>
              <a:t>restricted</a:t>
            </a:r>
          </a:p>
        </p:txBody>
      </p:sp>
      <p:sp>
        <p:nvSpPr>
          <p:cNvPr id="9" name="Date Placeholder" hidden="1"/>
          <p:cNvSpPr>
            <a:spLocks noGrp="1"/>
          </p:cNvSpPr>
          <p:nvPr>
            <p:ph type="dt" sz="quarter" idx="1"/>
            <p:custDataLst>
              <p:tags r:id="rId4"/>
            </p:custDataLst>
          </p:nvPr>
        </p:nvSpPr>
        <p:spPr>
          <a:xfrm>
            <a:off x="7099300" y="10234613"/>
            <a:ext cx="0" cy="0"/>
          </a:xfrm>
          <a:prstGeom prst="rect">
            <a:avLst/>
          </a:prstGeom>
        </p:spPr>
        <p:txBody>
          <a:bodyPr vert="horz" lIns="91440" tIns="45720" rIns="91440" bIns="45720" rtlCol="0" anchor="ctr"/>
          <a:lstStyle>
            <a:lvl1pPr algn="r">
              <a:defRPr sz="1200"/>
            </a:lvl1pPr>
          </a:lstStyle>
          <a:p>
            <a:pPr algn="l"/>
            <a:r>
              <a:rPr lang="en-US" sz="100">
                <a:noFill/>
                <a:latin typeface="Arial" panose="020B0604020202020204" pitchFamily="34" charset="0"/>
                <a:ea typeface="Verdana" pitchFamily="34" charset="0"/>
                <a:cs typeface="Arial" panose="020B0604020202020204" pitchFamily="34" charset="0"/>
              </a:rPr>
              <a:t>2020-09-28</a:t>
            </a:r>
          </a:p>
          <a:p>
            <a:pPr algn="l"/>
            <a:endParaRPr lang="en-US" sz="100">
              <a:noFill/>
              <a:latin typeface="Arial" panose="020B0604020202020204" pitchFamily="34" charset="0"/>
              <a:ea typeface="Verdana" pitchFamily="34" charset="0"/>
              <a:cs typeface="Arial" panose="020B0604020202020204" pitchFamily="34" charset="0"/>
            </a:endParaRPr>
          </a:p>
        </p:txBody>
      </p:sp>
      <p:sp>
        <p:nvSpPr>
          <p:cNvPr id="10" name="Slide Number Placeholder"/>
          <p:cNvSpPr>
            <a:spLocks noGrp="1"/>
          </p:cNvSpPr>
          <p:nvPr>
            <p:ph type="sldNum" sz="quarter" idx="3"/>
          </p:nvPr>
        </p:nvSpPr>
        <p:spPr>
          <a:xfrm>
            <a:off x="5997922" y="9833798"/>
            <a:ext cx="612000" cy="288000"/>
          </a:xfrm>
          <a:prstGeom prst="rect">
            <a:avLst/>
          </a:prstGeom>
        </p:spPr>
        <p:txBody>
          <a:bodyPr vert="horz" lIns="0" tIns="0" rIns="0" bIns="0" rtlCol="0" anchor="ctr"/>
          <a:lstStyle>
            <a:lvl1pPr algn="r">
              <a:defRPr sz="1200"/>
            </a:lvl1pPr>
          </a:lstStyle>
          <a:p>
            <a:fld id="{4F5EA4BF-E9AE-43AF-B3B0-E8B2B4D213BF}" type="slidenum">
              <a:rPr lang="en-US" sz="800">
                <a:solidFill>
                  <a:srgbClr val="928285"/>
                </a:solidFill>
                <a:latin typeface="Arial" panose="020B0604020202020204" pitchFamily="34" charset="0"/>
                <a:ea typeface="Verdana" pitchFamily="34" charset="0"/>
                <a:cs typeface="Arial" panose="020B0604020202020204" pitchFamily="34" charset="0"/>
              </a:rPr>
              <a:pPr/>
              <a:t>‹#›</a:t>
            </a:fld>
            <a:endParaRPr lang="en-US" sz="800">
              <a:solidFill>
                <a:srgbClr val="928285"/>
              </a:solidFill>
              <a:latin typeface="Arial" panose="020B0604020202020204" pitchFamily="34" charset="0"/>
              <a:ea typeface="Verdana"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AB77BC53-8E05-4977-B193-6A6AD69A870A}"/>
              </a:ext>
            </a:extLst>
          </p:cNvPr>
          <p:cNvSpPr txBox="1"/>
          <p:nvPr userDrawn="1">
            <p:custDataLst>
              <p:tags r:id="rId5"/>
            </p:custDataLst>
          </p:nvPr>
        </p:nvSpPr>
        <p:spPr bwMode="auto">
          <a:xfrm>
            <a:off x="489310"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p>
        </p:txBody>
      </p:sp>
      <p:sp>
        <p:nvSpPr>
          <p:cNvPr id="3" name="empower_proprietary_placeholder" hidden="1">
            <a:extLst>
              <a:ext uri="{FF2B5EF4-FFF2-40B4-BE49-F238E27FC236}">
                <a16:creationId xmlns:a16="http://schemas.microsoft.com/office/drawing/2014/main" id="{8A3F532B-9233-4B6C-A1AE-20F78C1A46B8}"/>
              </a:ext>
            </a:extLst>
          </p:cNvPr>
          <p:cNvSpPr txBox="1"/>
          <p:nvPr userDrawn="1">
            <p:custDataLst>
              <p:tags r:id="rId6"/>
            </p:custDataLst>
          </p:nvPr>
        </p:nvSpPr>
        <p:spPr bwMode="auto">
          <a:xfrm>
            <a:off x="5637922"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p>
        </p:txBody>
      </p:sp>
      <p:sp>
        <p:nvSpPr>
          <p:cNvPr id="4" name="empower_draft_placeholder" hidden="1">
            <a:extLst>
              <a:ext uri="{FF2B5EF4-FFF2-40B4-BE49-F238E27FC236}">
                <a16:creationId xmlns:a16="http://schemas.microsoft.com/office/drawing/2014/main" id="{707F235E-2AB2-45AA-AAE4-3CA5D9E6B283}"/>
              </a:ext>
            </a:extLst>
          </p:cNvPr>
          <p:cNvSpPr txBox="1"/>
          <p:nvPr userDrawn="1">
            <p:custDataLst>
              <p:tags r:id="rId7"/>
            </p:custDataLst>
          </p:nvPr>
        </p:nvSpPr>
        <p:spPr bwMode="auto">
          <a:xfrm>
            <a:off x="489310"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p>
        </p:txBody>
      </p:sp>
      <p:sp>
        <p:nvSpPr>
          <p:cNvPr id="5" name="empower_footer_placeholder">
            <a:extLst>
              <a:ext uri="{FF2B5EF4-FFF2-40B4-BE49-F238E27FC236}">
                <a16:creationId xmlns:a16="http://schemas.microsoft.com/office/drawing/2014/main" id="{5B6337D7-EF4A-437B-98C9-7A76CBDDE797}"/>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3. All rights reserved.</a:t>
            </a:r>
          </a:p>
        </p:txBody>
      </p:sp>
      <p:sp>
        <p:nvSpPr>
          <p:cNvPr id="16" name="empower_classification_attention_placeholder" hidden="1">
            <a:extLst>
              <a:ext uri="{FF2B5EF4-FFF2-40B4-BE49-F238E27FC236}">
                <a16:creationId xmlns:a16="http://schemas.microsoft.com/office/drawing/2014/main" id="{07AA87B6-2D72-4228-A7D0-DDCA437050BF}"/>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Restricted</a:t>
            </a:r>
          </a:p>
        </p:txBody>
      </p:sp>
      <p:sp>
        <p:nvSpPr>
          <p:cNvPr id="6" name="empower_classification_placeholder">
            <a:extLst>
              <a:ext uri="{FF2B5EF4-FFF2-40B4-BE49-F238E27FC236}">
                <a16:creationId xmlns:a16="http://schemas.microsoft.com/office/drawing/2014/main" id="{162FD7ED-CC36-4F26-ADD4-95B9EFF2AE3D}"/>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err="1">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a:solidFill>
                <a:srgbClr val="928285"/>
              </a:solidFill>
              <a:latin typeface="Arial" panose="020B0604020202020204" pitchFamily="34" charset="0"/>
              <a:ea typeface="Verdana" pitchFamily="34" charset="0"/>
              <a:cs typeface="Arial" panose="020B0604020202020204" pitchFamily="34" charset="0"/>
            </a:endParaRPr>
          </a:p>
        </p:txBody>
      </p:sp>
      <p:sp>
        <p:nvSpPr>
          <p:cNvPr id="14" name="empower_date_placeholder">
            <a:extLst>
              <a:ext uri="{FF2B5EF4-FFF2-40B4-BE49-F238E27FC236}">
                <a16:creationId xmlns:a16="http://schemas.microsoft.com/office/drawing/2014/main" id="{17C46F5C-5E8F-4CC2-80E6-B88261E13B5B}"/>
              </a:ext>
            </a:extLst>
          </p:cNvPr>
          <p:cNvSpPr txBox="1"/>
          <p:nvPr userDrawn="1">
            <p:custDataLst>
              <p:tags r:id="rId11"/>
            </p:custDataLst>
          </p:nvPr>
        </p:nvSpPr>
        <p:spPr bwMode="auto">
          <a:xfrm>
            <a:off x="489309"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18 Mrz 2023</a:t>
            </a:r>
          </a:p>
        </p:txBody>
      </p:sp>
      <p:pic>
        <p:nvPicPr>
          <p:cNvPr id="26"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359428692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8" Type="http://schemas.openxmlformats.org/officeDocument/2006/relationships/tags" Target="../tags/tag194.xml"/><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2.png"/><Relationship Id="rId2" Type="http://schemas.openxmlformats.org/officeDocument/2006/relationships/tags" Target="../tags/tag188.xml"/><Relationship Id="rId1" Type="http://schemas.openxmlformats.org/officeDocument/2006/relationships/theme" Target="../theme/theme2.xml"/><Relationship Id="rId6" Type="http://schemas.openxmlformats.org/officeDocument/2006/relationships/tags" Target="../tags/tag192.xml"/><Relationship Id="rId11" Type="http://schemas.openxmlformats.org/officeDocument/2006/relationships/tags" Target="../tags/tag197.xml"/><Relationship Id="rId5" Type="http://schemas.openxmlformats.org/officeDocument/2006/relationships/tags" Target="../tags/tag191.xml"/><Relationship Id="rId10" Type="http://schemas.openxmlformats.org/officeDocument/2006/relationships/tags" Target="../tags/tag196.xml"/><Relationship Id="rId4" Type="http://schemas.openxmlformats.org/officeDocument/2006/relationships/tags" Target="../tags/tag190.xml"/><Relationship Id="rId9" Type="http://schemas.openxmlformats.org/officeDocument/2006/relationships/tags" Target="../tags/tag19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6" name="Slide"/>
          <p:cNvSpPr>
            <a:spLocks noGrp="1" noRot="1" noChangeAspect="1" noChangeArrowheads="1" noTextEdit="1"/>
          </p:cNvSpPr>
          <p:nvPr>
            <p:ph type="sldImg" idx="2"/>
          </p:nvPr>
        </p:nvSpPr>
        <p:spPr bwMode="auto">
          <a:xfrm>
            <a:off x="454025" y="1012825"/>
            <a:ext cx="6191250" cy="3482975"/>
          </a:xfrm>
          <a:prstGeom prst="rect">
            <a:avLst/>
          </a:prstGeom>
          <a:noFill/>
          <a:ln w="9525">
            <a:solidFill>
              <a:srgbClr val="000000"/>
            </a:solidFill>
            <a:miter lim="800000"/>
            <a:headEnd/>
            <a:tailEnd/>
          </a:ln>
          <a:effectLst/>
        </p:spPr>
      </p:sp>
      <p:sp>
        <p:nvSpPr>
          <p:cNvPr id="84997" name="Notes"/>
          <p:cNvSpPr>
            <a:spLocks noGrp="1" noChangeArrowheads="1"/>
          </p:cNvSpPr>
          <p:nvPr>
            <p:ph type="body" sz="quarter" idx="3"/>
          </p:nvPr>
        </p:nvSpPr>
        <p:spPr bwMode="auto">
          <a:xfrm>
            <a:off x="453306" y="4757266"/>
            <a:ext cx="6191968" cy="478323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a:t>Enter Notes</a:t>
            </a:r>
          </a:p>
        </p:txBody>
      </p:sp>
      <p:sp>
        <p:nvSpPr>
          <p:cNvPr id="28"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00">
                <a:noFill/>
                <a:latin typeface="Arial" panose="020B0604020202020204" pitchFamily="34" charset="0"/>
                <a:cs typeface="Arial" panose="020B0604020202020204" pitchFamily="34" charset="0"/>
              </a:defRPr>
            </a:lvl1pPr>
          </a:lstStyle>
          <a:p>
            <a:endParaRPr lang="en-US" sz="100"/>
          </a:p>
        </p:txBody>
      </p:sp>
      <p:sp>
        <p:nvSpPr>
          <p:cNvPr id="10" name="Footer Placeholder" hidden="1"/>
          <p:cNvSpPr>
            <a:spLocks noGrp="1"/>
          </p:cNvSpPr>
          <p:nvPr>
            <p:ph type="ftr" sz="quarter" idx="4"/>
            <p:custDataLst>
              <p:tags r:id="rId3"/>
            </p:custDataLst>
          </p:nvPr>
        </p:nvSpPr>
        <p:spPr>
          <a:xfrm>
            <a:off x="7099300" y="10234613"/>
            <a:ext cx="0" cy="0"/>
          </a:xfrm>
          <a:prstGeom prst="rect">
            <a:avLst/>
          </a:prstGeom>
        </p:spPr>
        <p:txBody>
          <a:bodyPr vert="horz" lIns="91440" tIns="45720" rIns="91440" bIns="45720" rtlCol="0" anchor="ctr"/>
          <a:lstStyle>
            <a:lvl1pPr algn="ctr">
              <a:defRPr sz="100">
                <a:noFill/>
                <a:latin typeface="Verdana" pitchFamily="34" charset="0"/>
                <a:ea typeface="Verdana" pitchFamily="34" charset="0"/>
                <a:cs typeface="Verdana" pitchFamily="34" charset="0"/>
              </a:defRPr>
            </a:lvl1p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11" name="Date Placeholder" hidden="1"/>
          <p:cNvSpPr>
            <a:spLocks noGrp="1"/>
          </p:cNvSpPr>
          <p:nvPr>
            <p:ph type="dt" idx="1"/>
            <p:custDataLst>
              <p:tags r:id="rId4"/>
            </p:custDataLst>
          </p:nvPr>
        </p:nvSpPr>
        <p:spPr>
          <a:xfrm>
            <a:off x="7099300" y="10234613"/>
            <a:ext cx="0" cy="0"/>
          </a:xfrm>
          <a:prstGeom prst="rect">
            <a:avLst/>
          </a:prstGeom>
        </p:spPr>
        <p:txBody>
          <a:bodyPr vert="horz" lIns="91440" tIns="45720" rIns="91440" bIns="45720" rtlCol="0" anchor="ctr"/>
          <a:lstStyle>
            <a:lvl1pPr algn="l">
              <a:defRPr sz="100">
                <a:noFill/>
                <a:latin typeface="Arial" panose="020B0604020202020204" pitchFamily="34" charset="0"/>
                <a:ea typeface="Verdana" pitchFamily="34" charset="0"/>
                <a:cs typeface="Arial" panose="020B0604020202020204" pitchFamily="34" charset="0"/>
              </a:defRPr>
            </a:lvl1pPr>
          </a:lstStyle>
          <a:p>
            <a:r>
              <a:rPr lang="en-US"/>
              <a:t>2020-09-28</a:t>
            </a:r>
          </a:p>
          <a:p>
            <a:endParaRPr lang="en-US"/>
          </a:p>
        </p:txBody>
      </p:sp>
      <p:sp>
        <p:nvSpPr>
          <p:cNvPr id="12" name="Slide Number Placeholder"/>
          <p:cNvSpPr>
            <a:spLocks noGrp="1"/>
          </p:cNvSpPr>
          <p:nvPr>
            <p:ph type="sldNum" sz="quarter" idx="5"/>
          </p:nvPr>
        </p:nvSpPr>
        <p:spPr>
          <a:xfrm>
            <a:off x="6033274" y="9833798"/>
            <a:ext cx="612000" cy="288000"/>
          </a:xfrm>
          <a:prstGeom prst="rect">
            <a:avLst/>
          </a:prstGeom>
        </p:spPr>
        <p:txBody>
          <a:bodyPr vert="horz" lIns="0" tIns="0" rIns="0" bIns="0" rtlCol="0" anchor="ctr"/>
          <a:lstStyle>
            <a:lvl1pPr algn="r">
              <a:defRPr sz="800">
                <a:solidFill>
                  <a:srgbClr val="928285"/>
                </a:solidFill>
                <a:latin typeface="Verdana" pitchFamily="34" charset="0"/>
                <a:ea typeface="Verdana" pitchFamily="34" charset="0"/>
                <a:cs typeface="Verdana" pitchFamily="34" charset="0"/>
              </a:defRPr>
            </a:lvl1pPr>
          </a:lstStyle>
          <a:p>
            <a:fld id="{4165D906-55BD-49C5-997D-27A40DB53D15}" type="slidenum">
              <a:rPr lang="en-US">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E8AE2277-2635-47CE-8461-F921E010AD66}"/>
              </a:ext>
            </a:extLst>
          </p:cNvPr>
          <p:cNvSpPr txBox="1"/>
          <p:nvPr userDrawn="1">
            <p:custDataLst>
              <p:tags r:id="rId5"/>
            </p:custDataLst>
          </p:nvPr>
        </p:nvSpPr>
        <p:spPr bwMode="auto">
          <a:xfrm>
            <a:off x="453306"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p>
        </p:txBody>
      </p:sp>
      <p:sp>
        <p:nvSpPr>
          <p:cNvPr id="3" name="empower_proprietary_placeholder" hidden="1">
            <a:extLst>
              <a:ext uri="{FF2B5EF4-FFF2-40B4-BE49-F238E27FC236}">
                <a16:creationId xmlns:a16="http://schemas.microsoft.com/office/drawing/2014/main" id="{1ED6373F-3656-4DFD-9B9C-BC0ABABA2CBF}"/>
              </a:ext>
            </a:extLst>
          </p:cNvPr>
          <p:cNvSpPr txBox="1"/>
          <p:nvPr userDrawn="1">
            <p:custDataLst>
              <p:tags r:id="rId6"/>
            </p:custDataLst>
          </p:nvPr>
        </p:nvSpPr>
        <p:spPr bwMode="auto">
          <a:xfrm>
            <a:off x="5673274"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p>
        </p:txBody>
      </p:sp>
      <p:sp>
        <p:nvSpPr>
          <p:cNvPr id="4" name="empower_draft_placeholder" hidden="1">
            <a:extLst>
              <a:ext uri="{FF2B5EF4-FFF2-40B4-BE49-F238E27FC236}">
                <a16:creationId xmlns:a16="http://schemas.microsoft.com/office/drawing/2014/main" id="{3D3123B4-E08C-4CCD-9703-AD1F689F1FB7}"/>
              </a:ext>
            </a:extLst>
          </p:cNvPr>
          <p:cNvSpPr txBox="1"/>
          <p:nvPr userDrawn="1">
            <p:custDataLst>
              <p:tags r:id="rId7"/>
            </p:custDataLst>
          </p:nvPr>
        </p:nvSpPr>
        <p:spPr bwMode="auto">
          <a:xfrm>
            <a:off x="453306"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p>
        </p:txBody>
      </p:sp>
      <p:sp>
        <p:nvSpPr>
          <p:cNvPr id="5" name="empower_footer_placeholder">
            <a:extLst>
              <a:ext uri="{FF2B5EF4-FFF2-40B4-BE49-F238E27FC236}">
                <a16:creationId xmlns:a16="http://schemas.microsoft.com/office/drawing/2014/main" id="{7E51E007-F5B3-45C7-900F-9B0FFE9F37F6}"/>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3. All rights reserved.</a:t>
            </a:r>
          </a:p>
        </p:txBody>
      </p:sp>
      <p:sp>
        <p:nvSpPr>
          <p:cNvPr id="6" name="empower_classification_attention_placeholder" hidden="1">
            <a:extLst>
              <a:ext uri="{FF2B5EF4-FFF2-40B4-BE49-F238E27FC236}">
                <a16:creationId xmlns:a16="http://schemas.microsoft.com/office/drawing/2014/main" id="{CD1E0C77-9862-4B96-A3C1-8F3320EB5330}"/>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Restricted</a:t>
            </a:r>
          </a:p>
        </p:txBody>
      </p:sp>
      <p:sp>
        <p:nvSpPr>
          <p:cNvPr id="7" name="empower_classification_placeholder">
            <a:extLst>
              <a:ext uri="{FF2B5EF4-FFF2-40B4-BE49-F238E27FC236}">
                <a16:creationId xmlns:a16="http://schemas.microsoft.com/office/drawing/2014/main" id="{9F464BB7-63C3-4B8A-A50E-5FC32FA6A18F}"/>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err="1">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a:solidFill>
                <a:srgbClr val="928285"/>
              </a:solidFill>
              <a:latin typeface="Arial" panose="020B0604020202020204" pitchFamily="34" charset="0"/>
              <a:ea typeface="Verdana" pitchFamily="34" charset="0"/>
              <a:cs typeface="Arial" panose="020B0604020202020204" pitchFamily="34" charset="0"/>
            </a:endParaRPr>
          </a:p>
        </p:txBody>
      </p:sp>
      <p:sp>
        <p:nvSpPr>
          <p:cNvPr id="8" name="empower_date_placeholder">
            <a:extLst>
              <a:ext uri="{FF2B5EF4-FFF2-40B4-BE49-F238E27FC236}">
                <a16:creationId xmlns:a16="http://schemas.microsoft.com/office/drawing/2014/main" id="{7E930412-6BBA-43BF-B0D5-11DDE46E471E}"/>
              </a:ext>
            </a:extLst>
          </p:cNvPr>
          <p:cNvSpPr txBox="1"/>
          <p:nvPr userDrawn="1">
            <p:custDataLst>
              <p:tags r:id="rId11"/>
            </p:custDataLst>
          </p:nvPr>
        </p:nvSpPr>
        <p:spPr bwMode="auto">
          <a:xfrm>
            <a:off x="453306"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18 Mrz 2023</a:t>
            </a:r>
          </a:p>
        </p:txBody>
      </p:sp>
      <p:pic>
        <p:nvPicPr>
          <p:cNvPr id="32"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123004185"/>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609585" algn="l" rtl="0" fontAlgn="base">
      <a:spcBef>
        <a:spcPct val="30000"/>
      </a:spcBef>
      <a:spcAft>
        <a:spcPct val="0"/>
      </a:spcAft>
      <a:defRPr sz="1600" kern="1200">
        <a:solidFill>
          <a:srgbClr val="00214A"/>
        </a:solidFill>
        <a:latin typeface="Verdana" pitchFamily="34" charset="0"/>
        <a:ea typeface="+mn-ea"/>
        <a:cs typeface="+mn-cs"/>
      </a:defRPr>
    </a:lvl2pPr>
    <a:lvl3pPr marL="1219170" algn="l" rtl="0" fontAlgn="base">
      <a:spcBef>
        <a:spcPct val="30000"/>
      </a:spcBef>
      <a:spcAft>
        <a:spcPct val="0"/>
      </a:spcAft>
      <a:defRPr sz="1600" kern="1200">
        <a:solidFill>
          <a:srgbClr val="00214A"/>
        </a:solidFill>
        <a:latin typeface="Verdana" pitchFamily="34" charset="0"/>
        <a:ea typeface="+mn-ea"/>
        <a:cs typeface="+mn-cs"/>
      </a:defRPr>
    </a:lvl3pPr>
    <a:lvl4pPr marL="1828754" algn="l" rtl="0" fontAlgn="base">
      <a:spcBef>
        <a:spcPct val="30000"/>
      </a:spcBef>
      <a:spcAft>
        <a:spcPct val="0"/>
      </a:spcAft>
      <a:defRPr sz="1600" kern="1200">
        <a:solidFill>
          <a:srgbClr val="00214A"/>
        </a:solidFill>
        <a:latin typeface="Verdana" pitchFamily="34" charset="0"/>
        <a:ea typeface="+mn-ea"/>
        <a:cs typeface="+mn-cs"/>
      </a:defRPr>
    </a:lvl4pPr>
    <a:lvl5pPr marL="2438339" algn="l" rtl="0" fontAlgn="base">
      <a:spcBef>
        <a:spcPct val="30000"/>
      </a:spcBef>
      <a:spcAft>
        <a:spcPct val="0"/>
      </a:spcAft>
      <a:defRPr sz="1600" kern="1200">
        <a:solidFill>
          <a:srgbClr val="00214A"/>
        </a:solidFill>
        <a:latin typeface="Verdana"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98B57D-5C5E-BCF7-3BED-EC57CC950D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05BCA1-130F-E149-8154-8004FD3DC0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6D892E-1649-9D22-0C25-B5AA17A9F60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D1EE3B0D-4950-441E-6358-F8F570CD751B}"/>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D8E8779A-6A9C-8434-4F1B-715A10DD21F2}"/>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390F37B4-5EB4-D756-BCAC-41A2B0A6593F}"/>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832074E8-B47B-7345-2311-E3ACE3849F52}"/>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304542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6D21E1-047B-BF08-85B1-86500AABFF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0CAC76-358D-587E-56A8-5AA01407B4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BB4836-AA28-BA0B-B5F7-E27C84CFAD10}"/>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24ACBAAC-492E-8DA1-668D-B4A9BD725EB3}"/>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3A629D83-3343-567E-80C1-A6CEADA1B256}"/>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38F7BB32-D71C-29AB-FDAA-6A7F9BA369E0}"/>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5595C42E-3C50-012D-1E53-7BA6E24BB104}"/>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1</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070835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E7395-18D2-351F-0C1B-197F243D25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828E45-E9E5-E849-B415-20C21AB19A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B5BB7D-0CF5-775C-772E-35E60EF0E35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FADEE611-1623-4416-DA88-EE398B91B60D}"/>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457EA138-59F6-8368-CEFE-E31538D01B24}"/>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390BDDAF-57DB-9801-DCF6-6D55AFAFC667}"/>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713C453C-9171-BA79-E17C-61859EC0041C}"/>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7</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920505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A0B53D-427D-43C9-07AF-5AB4F77F5A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9128E9-B498-C217-AF0B-992561D106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618A4E-36DE-B83B-AF80-09DFEF1702F7}"/>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50BB5A0C-F1FE-3744-B895-8BB07ADB056F}"/>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DCC85E59-FAAB-8FD0-2A8B-8DB7E4B20F8D}"/>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36D05EF1-459A-E369-03D6-4C1161DEA3D5}"/>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0C1F481A-6F78-30DE-CD0B-CCC90AEEC666}"/>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40</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509602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E03D1D-E581-1167-68D7-AB90E7F2D0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2E21B3-49BD-B65D-3831-828078AAE8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CCA45B-0D41-9E70-B54A-3BC4FB70DD99}"/>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AEB89922-BB58-04E4-E9DD-FB4F1F15D139}"/>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DEE012EF-44AC-6115-0FD5-F674DC1A0584}"/>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7A457FDB-D452-5C65-4A3C-9BE4227A0812}"/>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BFB507D6-5F78-AFB8-9BCE-B8DAC5F0BF9E}"/>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42</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866024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20A65B-71F7-F2EB-2773-939A8AFFDB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90F5C5-23EB-4AF2-773C-382C7013DD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94CAF3-4FD2-7415-B047-08632203A6A6}"/>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DCB7538-B276-9210-8BDB-3755BF6ECDBC}"/>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7399B323-7B17-8EB7-6D51-5E6E020D84C6}"/>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F76879BE-F18D-A89D-01A7-6B7C780D5D91}"/>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F67DDC72-9454-E0E8-D79E-5E08067936A6}"/>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44</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93967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E05FB9-19E1-DAF1-A92F-FE215755C0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D22D3A-AA97-C0DF-C727-8E7912A07D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928993-A3A5-31C1-5DE9-F5AEA9727D2D}"/>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E065AFB6-A86A-F3E2-B033-40C7E2F2783E}"/>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8B61C00E-A319-4029-35D9-C0E1869F2BB3}"/>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0CD1E5F7-6D4B-7216-2B30-DE0755E51C5C}"/>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A7523B6C-DAED-EF49-18F0-D28A9E2B07CB}"/>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46</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10103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D7D2D6-B594-8244-7D3A-5B297B182B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705157-8A99-2193-5A24-B9BA8E7DD1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B7D65D-1091-1FAA-447E-5D63D7E14499}"/>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EB60B9C0-D96D-15AB-3EDE-4D0B9B538CA5}"/>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16F743EB-3E08-7711-60AF-C6F0273969C8}"/>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741EB7B7-9A76-77AF-1CC1-5EAF0594468F}"/>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F6E817D5-60CD-D928-71AB-CB43C7B81B9D}"/>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48</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028761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7CCAA4-5814-CD83-55B2-FCEF745448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DB41C3-270E-E2EA-6FDE-B54E4DBA9C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F3B1B2-AA96-4D64-7B0E-D00C309BAD80}"/>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8ED080A7-8B38-22F9-EE61-684FC0B70EC4}"/>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F48A17C7-F976-EB10-E710-A7463037F162}"/>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C838FAE1-8639-4758-EFAC-93137A1268CF}"/>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7BA9F074-CB90-3286-A441-53F4D7C33104}"/>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51</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8120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11F36F-F40C-1791-0743-0E1C80ED4D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BF882C-3FB8-2727-4E2C-5759E96923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23F90B-77F2-8648-C686-6576C5AEB407}"/>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DA0B0B2D-8DC9-D540-F628-3B43980611B4}"/>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E5447ADF-F34C-7607-8DFB-86C18D8FE9B0}"/>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BDBF6976-05D5-3E68-A70A-72561738AF69}"/>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77C9EF4A-1AA7-EE37-3813-CE61DA141B2E}"/>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54</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09910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FC272D-50CA-23F6-2AD9-6876577DA7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53FFA1-14FF-2C77-52CE-BEC4E753AC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75A590-ABFF-2352-AF50-D4B71562420D}"/>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5FE5FAB-AF2F-14DD-A08A-4849224A0F33}"/>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77FBDE6D-7D3A-47E5-ACD3-57E1C27D41F5}"/>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96909D05-41DE-0B30-5EC4-E02EECF81C73}"/>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9AA753C6-A190-6BDE-0A3C-1BF03A49D433}"/>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57</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74848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sz="10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a:t>2020-09-28</a:t>
            </a:r>
          </a:p>
          <a:p>
            <a:endParaRPr lang="en-US"/>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05526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45BCD-4A05-37C1-FC56-8E7D1643FE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260BA8-467F-7106-57DB-AB3251A086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0F03F7-941A-7204-DDE8-E608F117CDA3}"/>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16EB2C47-F482-1606-5396-766314979673}"/>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914FD876-9A23-197F-F799-329992085F70}"/>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17A18CA7-7340-2D9C-A89D-AA027FD07675}"/>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E6018A2D-C436-0056-7BC9-FF9BAF2B64A9}"/>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59</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752579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6CC36-B900-C08F-074A-6C0B686BE1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76DAB8-CDA5-95F2-A0E3-85C70D25F4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15FAF8-880D-368F-FF90-F343979FA31F}"/>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1C44BD0B-CF97-8710-C6A7-45A1BC511F5B}"/>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B9886BFB-6B1B-84A9-FB06-BA5AFEE0011F}"/>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8875DAB4-271C-15DB-C8C9-4D4853882C67}"/>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7377223E-2530-11F9-A61E-45E5C77BB832}"/>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60</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51902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sz="10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a:t>2020-09-28</a:t>
            </a:r>
          </a:p>
          <a:p>
            <a:endParaRPr lang="en-US"/>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61</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27389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1866B1-279B-6B12-9D43-B81CA8D96E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7D8275-8EFA-C1C7-1816-10FC412CD7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876723-42D8-ED38-E3E5-2B4AE576072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C5CC745A-0C82-08E5-6377-45A8A75DD76B}"/>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04E8D9BA-D0CA-9E6D-B890-631DC8853696}"/>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02CB1BC2-AECA-7942-3589-E7D2BBBF6656}"/>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E10DEE44-9235-1309-F37D-EED287C511C8}"/>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74932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C69B3-1C67-5584-A4E9-1FDEBE07AF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CA07AE-B8D1-7378-55ED-5D40971434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B2341B-9186-F6AD-4B04-C30CE19F6FE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D27CE982-69F8-E35E-4FEE-DA133E9D3D60}"/>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DFC30847-9CAB-3066-0006-F377AA3CA72C}"/>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D305789E-F547-8AE3-8288-2083336BF267}"/>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C79A1546-FB58-64B8-9E1D-B8A1F177DB0A}"/>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5</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286801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8E51A-ACB0-B431-0CB7-E684D19610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52C3E5-976F-4545-17A9-0C593C2902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CFC0D6-7AF9-5703-0610-9BC8E27C1650}"/>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5D44B3DC-CF7F-3180-1863-9BC197B6BE52}"/>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2771080C-7803-562B-1DA6-809DA0E0A1C1}"/>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94A5AA49-D49A-5063-02E9-FFF00844CDCE}"/>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E3DD997B-DEC8-074A-17F0-EF29A1D73ECD}"/>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8</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89389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5C21D1-98C0-AE4F-D68F-627D9A4736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39FB61-1683-AA04-FF73-4BF1E92BD5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198482-CA46-404E-F22F-A36AE65922BF}"/>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A016D1B-02FD-C56B-DD2C-7E3946DC4DE8}"/>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AF6D371C-CDB2-1D54-8765-7DC675D9DC13}"/>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98B33EED-D968-BB38-A4DB-C7A8F546190E}"/>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11E88B48-D37A-9ACE-991D-E4E29E9A097B}"/>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0</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933881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FF7459-7E89-7B09-5AA9-1CF580CC44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BE8A52-ED35-78EA-AFAE-0658A92076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FA697E-AE6D-20D6-DFB9-268CDC21B92B}"/>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219D011-DCB5-494E-4051-5E82EA5C3955}"/>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1A6649A5-43DE-A73F-52EF-24CC03C65E6E}"/>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601B5BE2-9099-0C8D-9041-E3B480859C11}"/>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86D8409D-5731-5BA6-7162-D2C3C0E1F274}"/>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8</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473277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42A8A8-D862-C17E-F378-1AD13E1713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26FD87-99C6-1A76-1D5E-6650DA6095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254DD2-4FBA-E264-0906-EBAFEA0AEFF6}"/>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6ED2C626-B453-D843-1521-A8BCFAC18AF2}"/>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69050160-4BE5-F9A5-8D43-4B36AB761FA4}"/>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C9936576-73DD-D2E8-99E7-9B031CF764C1}"/>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D764FC0F-10A1-B3DD-0AF1-46E1A2DFD554}"/>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3</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910111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5DF4F-9013-59C3-5005-9E2340FCA8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B987FE-4AC9-53E7-9144-22FC3A46D9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62197F-AED6-B131-82AA-FEF6BE04BB83}"/>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C2BD26D3-52F6-190C-10FE-FB389F3C5124}"/>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BD076AD1-52CB-8DE3-C9C5-BA2E2D80466B}"/>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2F470B0C-7537-DF2D-7DA7-2EE63872C52D}"/>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DABC307D-5559-376D-D914-96BB52B061E4}"/>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8</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596794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image" Target="../media/image1.emf"/><Relationship Id="rId5" Type="http://schemas.openxmlformats.org/officeDocument/2006/relationships/tags" Target="../tags/tag10.xml"/><Relationship Id="rId10" Type="http://schemas.openxmlformats.org/officeDocument/2006/relationships/slideMaster" Target="../slideMasters/slideMaster1.xml"/><Relationship Id="rId4" Type="http://schemas.openxmlformats.org/officeDocument/2006/relationships/tags" Target="../tags/tag9.xml"/><Relationship Id="rId9"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tags" Target="../tags/tag100.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0" Type="http://schemas.openxmlformats.org/officeDocument/2006/relationships/tags" Target="../tags/tag98.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tags" Target="../tags/tag114.xml"/><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tags" Target="../tags/tag113.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tags" Target="../tags/tag112.xml"/><Relationship Id="rId5" Type="http://schemas.openxmlformats.org/officeDocument/2006/relationships/tags" Target="../tags/tag106.xml"/><Relationship Id="rId10" Type="http://schemas.openxmlformats.org/officeDocument/2006/relationships/tags" Target="../tags/tag111.xm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tags" Target="../tags/tag126.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0" Type="http://schemas.openxmlformats.org/officeDocument/2006/relationships/tags" Target="../tags/tag124.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tags" Target="../tags/tag140.xml"/><Relationship Id="rId3" Type="http://schemas.openxmlformats.org/officeDocument/2006/relationships/tags" Target="../tags/tag130.xml"/><Relationship Id="rId7" Type="http://schemas.openxmlformats.org/officeDocument/2006/relationships/tags" Target="../tags/tag134.xml"/><Relationship Id="rId12" Type="http://schemas.openxmlformats.org/officeDocument/2006/relationships/tags" Target="../tags/tag139.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tags" Target="../tags/tag138.xml"/><Relationship Id="rId5" Type="http://schemas.openxmlformats.org/officeDocument/2006/relationships/tags" Target="../tags/tag132.xml"/><Relationship Id="rId10" Type="http://schemas.openxmlformats.org/officeDocument/2006/relationships/tags" Target="../tags/tag137.xml"/><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tags" Target="../tags/tag153.xml"/><Relationship Id="rId3" Type="http://schemas.openxmlformats.org/officeDocument/2006/relationships/tags" Target="../tags/tag143.xml"/><Relationship Id="rId7" Type="http://schemas.openxmlformats.org/officeDocument/2006/relationships/tags" Target="../tags/tag147.xml"/><Relationship Id="rId12" Type="http://schemas.openxmlformats.org/officeDocument/2006/relationships/tags" Target="../tags/tag152.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11" Type="http://schemas.openxmlformats.org/officeDocument/2006/relationships/tags" Target="../tags/tag151.xml"/><Relationship Id="rId5" Type="http://schemas.openxmlformats.org/officeDocument/2006/relationships/tags" Target="../tags/tag145.xml"/><Relationship Id="rId10" Type="http://schemas.openxmlformats.org/officeDocument/2006/relationships/tags" Target="../tags/tag150.xml"/><Relationship Id="rId4" Type="http://schemas.openxmlformats.org/officeDocument/2006/relationships/tags" Target="../tags/tag144.xml"/><Relationship Id="rId9" Type="http://schemas.openxmlformats.org/officeDocument/2006/relationships/tags" Target="../tags/tag149.xml"/><Relationship Id="rId1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tags" Target="../tags/tag166.xml"/><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tags" Target="../tags/tag165.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tags" Target="../tags/tag164.xml"/><Relationship Id="rId5" Type="http://schemas.openxmlformats.org/officeDocument/2006/relationships/tags" Target="../tags/tag158.xml"/><Relationship Id="rId10" Type="http://schemas.openxmlformats.org/officeDocument/2006/relationships/tags" Target="../tags/tag163.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slideMaster" Target="../slideMasters/slideMaster1.xml"/><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tags" Target="../tags/tag178.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7.xml"/><Relationship Id="rId5" Type="http://schemas.openxmlformats.org/officeDocument/2006/relationships/tags" Target="../tags/tag171.xml"/><Relationship Id="rId10" Type="http://schemas.openxmlformats.org/officeDocument/2006/relationships/tags" Target="../tags/tag176.xml"/><Relationship Id="rId4" Type="http://schemas.openxmlformats.org/officeDocument/2006/relationships/tags" Target="../tags/tag170.xml"/><Relationship Id="rId9" Type="http://schemas.openxmlformats.org/officeDocument/2006/relationships/tags" Target="../tags/tag175.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tags" Target="../tags/tag179.xml"/><Relationship Id="rId5" Type="http://schemas.openxmlformats.org/officeDocument/2006/relationships/slideMaster" Target="../slideMasters/slideMaster1.xml"/><Relationship Id="rId4" Type="http://schemas.openxmlformats.org/officeDocument/2006/relationships/tags" Target="../tags/tag18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emf"/><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slideMaster" Target="../slideMasters/slideMaster1.xml"/><Relationship Id="rId5" Type="http://schemas.openxmlformats.org/officeDocument/2006/relationships/tags" Target="../tags/tag187.xml"/><Relationship Id="rId4" Type="http://schemas.openxmlformats.org/officeDocument/2006/relationships/tags" Target="../tags/tag186.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10" Type="http://schemas.openxmlformats.org/officeDocument/2006/relationships/image" Target="../media/image1.emf"/><Relationship Id="rId4" Type="http://schemas.openxmlformats.org/officeDocument/2006/relationships/tags" Target="../tags/tag18.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1.emf"/><Relationship Id="rId5" Type="http://schemas.openxmlformats.org/officeDocument/2006/relationships/tags" Target="../tags/tag27.xml"/><Relationship Id="rId10" Type="http://schemas.openxmlformats.org/officeDocument/2006/relationships/slideMaster" Target="../slideMasters/slideMaster1.xml"/><Relationship Id="rId4" Type="http://schemas.openxmlformats.org/officeDocument/2006/relationships/tags" Target="../tags/tag26.xml"/><Relationship Id="rId9" Type="http://schemas.openxmlformats.org/officeDocument/2006/relationships/tags" Target="../tags/tag3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slideMaster" Target="../slideMasters/slideMaster1.xml"/><Relationship Id="rId5" Type="http://schemas.openxmlformats.org/officeDocument/2006/relationships/tags" Target="../tags/tag49.xml"/><Relationship Id="rId10" Type="http://schemas.openxmlformats.org/officeDocument/2006/relationships/tags" Target="../tags/tag54.xml"/><Relationship Id="rId4" Type="http://schemas.openxmlformats.org/officeDocument/2006/relationships/tags" Target="../tags/tag48.xml"/><Relationship Id="rId9"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tags" Target="../tags/tag66.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1.xml"/><Relationship Id="rId5" Type="http://schemas.openxmlformats.org/officeDocument/2006/relationships/tags" Target="../tags/tag72.xml"/><Relationship Id="rId4" Type="http://schemas.openxmlformats.org/officeDocument/2006/relationships/tags" Target="../tags/tag7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tags" Target="../tags/tag87.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0" Type="http://schemas.openxmlformats.org/officeDocument/2006/relationships/tags" Target="../tags/tag85.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1">
    <p:bg>
      <p:bgPr>
        <a:solidFill>
          <a:schemeClr val="bg1"/>
        </a:solidFill>
        <a:effectLst/>
      </p:bgPr>
    </p:bg>
    <p:spTree>
      <p:nvGrpSpPr>
        <p:cNvPr id="1" name=""/>
        <p:cNvGrpSpPr/>
        <p:nvPr/>
      </p:nvGrpSpPr>
      <p:grpSpPr>
        <a:xfrm>
          <a:off x="0" y="0"/>
          <a:ext cx="0" cy="0"/>
          <a:chOff x="0" y="0"/>
          <a:chExt cx="0" cy="0"/>
        </a:xfrm>
      </p:grpSpPr>
      <p:sp>
        <p:nvSpPr>
          <p:cNvPr id="6" name="LOGO PROTECTION" hidden="1">
            <a:extLst>
              <a:ext uri="{FF2B5EF4-FFF2-40B4-BE49-F238E27FC236}">
                <a16:creationId xmlns:a16="http://schemas.microsoft.com/office/drawing/2014/main" id="{193C101A-31DD-4FCB-8E69-ED3C115F16E0}"/>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8" name="Background White">
            <a:extLst>
              <a:ext uri="{FF2B5EF4-FFF2-40B4-BE49-F238E27FC236}">
                <a16:creationId xmlns:a16="http://schemas.microsoft.com/office/drawing/2014/main" id="{9FD1694A-5725-40E5-AC10-2A7A68B981E5}"/>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30" name="Subtitle"/>
          <p:cNvSpPr>
            <a:spLocks noGrp="1"/>
          </p:cNvSpPr>
          <p:nvPr>
            <p:ph type="subTitle" idx="1" hasCustomPrompt="1"/>
          </p:nvPr>
        </p:nvSpPr>
        <p:spPr>
          <a:xfrm>
            <a:off x="624000" y="5641951"/>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a:t>Author (department)</a:t>
            </a:r>
            <a:br>
              <a:rPr lang="en-US" noProof="0"/>
            </a:br>
            <a:r>
              <a:rPr lang="en-US" noProof="0"/>
              <a:t>Date</a:t>
            </a:r>
          </a:p>
        </p:txBody>
      </p:sp>
      <p:sp>
        <p:nvSpPr>
          <p:cNvPr id="15" name="Title">
            <a:extLst>
              <a:ext uri="{FF2B5EF4-FFF2-40B4-BE49-F238E27FC236}">
                <a16:creationId xmlns:a16="http://schemas.microsoft.com/office/drawing/2014/main" id="{26638A09-FAF0-40AC-917E-C2B12C875E5A}"/>
              </a:ext>
            </a:extLst>
          </p:cNvPr>
          <p:cNvSpPr>
            <a:spLocks noGrp="1"/>
          </p:cNvSpPr>
          <p:nvPr>
            <p:ph type="ctrTitle" hasCustomPrompt="1"/>
            <p:custDataLst>
              <p:tags r:id="rId2"/>
            </p:custDataLst>
          </p:nvPr>
        </p:nvSpPr>
        <p:spPr>
          <a:xfrm>
            <a:off x="624000" y="4163051"/>
            <a:ext cx="8280000" cy="1118901"/>
          </a:xfrm>
        </p:spPr>
        <p:txBody>
          <a:bodyPr bIns="0" anchor="b">
            <a:normAutofit/>
          </a:bodyPr>
          <a:lstStyle>
            <a:lvl1pPr algn="l">
              <a:defRPr sz="3600" baseline="0">
                <a:latin typeface="+mj-lt"/>
                <a:ea typeface="+mj-ea"/>
                <a:cs typeface="+mj-cs"/>
              </a:defRPr>
            </a:lvl1pPr>
          </a:lstStyle>
          <a:p>
            <a:r>
              <a:rPr lang="en-US" noProof="0"/>
              <a:t>Please type in title</a:t>
            </a:r>
          </a:p>
        </p:txBody>
      </p:sp>
      <p:sp>
        <p:nvSpPr>
          <p:cNvPr id="9" name="empower_classification_attention_placeholder" hidden="1">
            <a:extLst>
              <a:ext uri="{FF2B5EF4-FFF2-40B4-BE49-F238E27FC236}">
                <a16:creationId xmlns:a16="http://schemas.microsoft.com/office/drawing/2014/main" id="{542ADA73-329E-4D35-A040-712B75800F88}"/>
              </a:ext>
            </a:extLst>
          </p:cNvPr>
          <p:cNvSpPr txBox="1"/>
          <p:nvPr>
            <p:custDataLst>
              <p:tags r:id="rId3"/>
            </p:custDataLst>
          </p:nvPr>
        </p:nvSpPr>
        <p:spPr bwMode="auto">
          <a:xfrm>
            <a:off x="5411800" y="6500314"/>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11" name="empower_document_placeholder" hidden="1">
            <a:extLst>
              <a:ext uri="{FF2B5EF4-FFF2-40B4-BE49-F238E27FC236}">
                <a16:creationId xmlns:a16="http://schemas.microsoft.com/office/drawing/2014/main" id="{7FE25D73-2664-463A-AF80-DF3E4E2CB8B6}"/>
              </a:ext>
            </a:extLst>
          </p:cNvPr>
          <p:cNvSpPr txBox="1"/>
          <p:nvPr>
            <p:custDataLst>
              <p:tags r:id="rId4"/>
            </p:custDataLst>
          </p:nvPr>
        </p:nvSpPr>
        <p:spPr bwMode="auto">
          <a:xfrm>
            <a:off x="624000" y="6500314"/>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p>
        </p:txBody>
      </p:sp>
      <p:sp>
        <p:nvSpPr>
          <p:cNvPr id="12" name="empower_draft_placeholder" hidden="1">
            <a:extLst>
              <a:ext uri="{FF2B5EF4-FFF2-40B4-BE49-F238E27FC236}">
                <a16:creationId xmlns:a16="http://schemas.microsoft.com/office/drawing/2014/main" id="{9769B1E2-E46B-4957-AEBB-2CD1EAF09328}"/>
              </a:ext>
            </a:extLst>
          </p:cNvPr>
          <p:cNvSpPr txBox="1"/>
          <p:nvPr>
            <p:custDataLst>
              <p:tags r:id="rId5"/>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p>
        </p:txBody>
      </p:sp>
      <p:sp>
        <p:nvSpPr>
          <p:cNvPr id="2" name="MIO_AGENDA_IGNORE_NAVIGATION" hidden="1">
            <a:extLst>
              <a:ext uri="{FF2B5EF4-FFF2-40B4-BE49-F238E27FC236}">
                <a16:creationId xmlns:a16="http://schemas.microsoft.com/office/drawing/2014/main" id="{03AF05FD-8ED3-440D-B616-18664CA13DD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6" name="MIO_AGENDA_IGNORE_CHAPTER_REFERENCE" hidden="1">
            <a:extLst>
              <a:ext uri="{FF2B5EF4-FFF2-40B4-BE49-F238E27FC236}">
                <a16:creationId xmlns:a16="http://schemas.microsoft.com/office/drawing/2014/main" id="{E0053FF2-2ADB-4CE0-850C-04ADE25DFF5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7" name="Date Placeholder 16" hidden="1">
            <a:extLst>
              <a:ext uri="{FF2B5EF4-FFF2-40B4-BE49-F238E27FC236}">
                <a16:creationId xmlns:a16="http://schemas.microsoft.com/office/drawing/2014/main" id="{B19EA23C-BCB4-4E72-A8B3-AFF05FD396BC}"/>
              </a:ext>
            </a:extLst>
          </p:cNvPr>
          <p:cNvSpPr>
            <a:spLocks noGrp="1"/>
          </p:cNvSpPr>
          <p:nvPr>
            <p:ph type="dt" sz="half" idx="10"/>
            <p:custDataLst>
              <p:tags r:id="rId6"/>
            </p:custDataLst>
          </p:nvPr>
        </p:nvSpPr>
        <p:spPr/>
        <p:txBody>
          <a:bodyPr/>
          <a:lstStyle/>
          <a:p>
            <a:endParaRPr lang="en-US" b="1"/>
          </a:p>
        </p:txBody>
      </p:sp>
      <p:sp>
        <p:nvSpPr>
          <p:cNvPr id="18" name="Footer Placeholder 17" hidden="1">
            <a:extLst>
              <a:ext uri="{FF2B5EF4-FFF2-40B4-BE49-F238E27FC236}">
                <a16:creationId xmlns:a16="http://schemas.microsoft.com/office/drawing/2014/main" id="{271BB539-26D3-4B9C-9F13-4E382668BE89}"/>
              </a:ext>
            </a:extLst>
          </p:cNvPr>
          <p:cNvSpPr>
            <a:spLocks noGrp="1"/>
          </p:cNvSpPr>
          <p:nvPr>
            <p:ph type="ftr" sz="quarter" idx="11"/>
            <p:custDataLst>
              <p:tags r:id="rId7"/>
            </p:custDataLst>
          </p:nvPr>
        </p:nvSpPr>
        <p:spPr/>
        <p:txBody>
          <a:bodyPr/>
          <a:lstStyle/>
          <a:p>
            <a:endParaRPr lang="en-US"/>
          </a:p>
        </p:txBody>
      </p:sp>
      <p:sp>
        <p:nvSpPr>
          <p:cNvPr id="19" name="Slide Number Placeholder 18" hidden="1">
            <a:extLst>
              <a:ext uri="{FF2B5EF4-FFF2-40B4-BE49-F238E27FC236}">
                <a16:creationId xmlns:a16="http://schemas.microsoft.com/office/drawing/2014/main" id="{970E7400-5A78-4596-8A13-DC8308CA511D}"/>
              </a:ext>
            </a:extLst>
          </p:cNvPr>
          <p:cNvSpPr>
            <a:spLocks noGrp="1"/>
          </p:cNvSpPr>
          <p:nvPr>
            <p:ph type="sldNum" sz="quarter" idx="12"/>
            <p:custDataLst>
              <p:tags r:id="rId8"/>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C370ED20-2DD7-4652-95B4-6C73AD11EB7F}"/>
              </a:ext>
            </a:extLst>
          </p:cNvPr>
          <p:cNvSpPr/>
          <p:nvPr userDrawn="1">
            <p:custDataLst>
              <p:tags r:id="rId9"/>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pic>
        <p:nvPicPr>
          <p:cNvPr id="4" name="LOGO">
            <a:extLst>
              <a:ext uri="{FF2B5EF4-FFF2-40B4-BE49-F238E27FC236}">
                <a16:creationId xmlns:a16="http://schemas.microsoft.com/office/drawing/2014/main" id="{605D435E-1749-4D7C-922C-B8AA23F4AC2D}"/>
              </a:ext>
            </a:extLst>
          </p:cNvPr>
          <p:cNvPicPr>
            <a:picLocks noChangeAspect="1"/>
          </p:cNvPicPr>
          <p:nvPr userDrawn="1"/>
        </p:nvPicPr>
        <p:blipFill>
          <a:blip r:embed="rId11">
            <a:extLst>
              <a:ext uri="{28A0092B-C50C-407E-A947-70E740481C1C}">
                <a14:useLocalDpi xmlns:a14="http://schemas.microsoft.com/office/drawing/2010/main" val="0"/>
              </a:ext>
            </a:extLst>
          </a:blip>
          <a:srcRect/>
          <a:stretch/>
        </p:blipFill>
        <p:spPr>
          <a:xfrm>
            <a:off x="9336360" y="5517231"/>
            <a:ext cx="2502783" cy="736719"/>
          </a:xfrm>
          <a:prstGeom prst="rect">
            <a:avLst/>
          </a:prstGeom>
        </p:spPr>
      </p:pic>
      <p:sp>
        <p:nvSpPr>
          <p:cNvPr id="5" name="Crystal Shape">
            <a:extLst>
              <a:ext uri="{FF2B5EF4-FFF2-40B4-BE49-F238E27FC236}">
                <a16:creationId xmlns:a16="http://schemas.microsoft.com/office/drawing/2014/main" id="{8E517925-1E1F-5C49-CCDA-9974E75078DA}"/>
              </a:ext>
            </a:extLst>
          </p:cNvPr>
          <p:cNvSpPr/>
          <p:nvPr userDrawn="1"/>
        </p:nvSpPr>
        <p:spPr bwMode="auto">
          <a:xfrm>
            <a:off x="2" y="1"/>
            <a:ext cx="12191999" cy="3932241"/>
          </a:xfrm>
          <a:custGeom>
            <a:avLst/>
            <a:gdLst>
              <a:gd name="connsiteX0" fmla="*/ 0 w 12191999"/>
              <a:gd name="connsiteY0" fmla="*/ 0 h 3932241"/>
              <a:gd name="connsiteX1" fmla="*/ 12191999 w 12191999"/>
              <a:gd name="connsiteY1" fmla="*/ 0 h 3932241"/>
              <a:gd name="connsiteX2" fmla="*/ 12191999 w 12191999"/>
              <a:gd name="connsiteY2" fmla="*/ 3726156 h 3932241"/>
              <a:gd name="connsiteX3" fmla="*/ 3063660 w 12191999"/>
              <a:gd name="connsiteY3" fmla="*/ 2179105 h 3932241"/>
              <a:gd name="connsiteX4" fmla="*/ 387 w 12191999"/>
              <a:gd name="connsiteY4" fmla="*/ 3726157 h 3932241"/>
              <a:gd name="connsiteX5" fmla="*/ 387 w 12191999"/>
              <a:gd name="connsiteY5" fmla="*/ 3932241 h 3932241"/>
              <a:gd name="connsiteX6" fmla="*/ 0 w 12191999"/>
              <a:gd name="connsiteY6" fmla="*/ 3932241 h 393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932241">
                <a:moveTo>
                  <a:pt x="0" y="0"/>
                </a:moveTo>
                <a:lnTo>
                  <a:pt x="12191999" y="0"/>
                </a:lnTo>
                <a:lnTo>
                  <a:pt x="12191999" y="3726156"/>
                </a:lnTo>
                <a:lnTo>
                  <a:pt x="3063660" y="2179105"/>
                </a:lnTo>
                <a:lnTo>
                  <a:pt x="387" y="3726157"/>
                </a:lnTo>
                <a:lnTo>
                  <a:pt x="387" y="3932241"/>
                </a:lnTo>
                <a:lnTo>
                  <a:pt x="0" y="3932241"/>
                </a:lnTo>
                <a:close/>
              </a:path>
            </a:pathLst>
          </a:custGeom>
          <a:solidFill>
            <a:srgbClr val="7390A6"/>
          </a:solidFill>
          <a:ln w="9525">
            <a:noFill/>
            <a:miter lim="800000"/>
            <a:headEnd/>
            <a:tailEnd/>
          </a:ln>
        </p:spPr>
        <p:txBody>
          <a:bodyPr wrap="square" lIns="72000" tIns="72000" rIns="72000" bIns="72000" rtlCol="0" anchor="ctr">
            <a:noAutofit/>
          </a:bodyPr>
          <a:lstStyle/>
          <a:p>
            <a:pPr algn="ctr" defTabSz="576000" rtl="0" eaLnBrk="0" hangingPunct="0">
              <a:lnSpc>
                <a:spcPct val="120000"/>
              </a:lnSpc>
            </a:pPr>
            <a:endParaRPr lang="de-DE" sz="1600" baseline="0">
              <a:solidFill>
                <a:schemeClr val="bg1"/>
              </a:solidFill>
              <a:latin typeface="+mn-lt"/>
              <a:ea typeface="+mn-ea"/>
              <a:cs typeface="+mn-cs"/>
            </a:endParaRPr>
          </a:p>
        </p:txBody>
      </p:sp>
    </p:spTree>
    <p:extLst>
      <p:ext uri="{BB962C8B-B14F-4D97-AF65-F5344CB8AC3E}">
        <p14:creationId xmlns:p14="http://schemas.microsoft.com/office/powerpoint/2010/main" val="455361232"/>
      </p:ext>
    </p:extLst>
  </p:cSld>
  <p:clrMapOvr>
    <a:masterClrMapping/>
  </p:clrMapOvr>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xAndTwoObj" preserve="1">
  <p:cSld name="Row | 2 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ECAA0892-68E2-4E2E-9B18-4A8DC40F0E11}"/>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D16A0514-897C-427C-A5CD-34FCB4F6BF1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A6FCF5E5-2935-4FDA-903C-EA43A699BD8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115A00C6-A501-466D-A34B-23C1071DA39E}"/>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21" name="empower_classification_attention_placeholder" hidden="1">
            <a:extLst>
              <a:ext uri="{FF2B5EF4-FFF2-40B4-BE49-F238E27FC236}">
                <a16:creationId xmlns:a16="http://schemas.microsoft.com/office/drawing/2014/main" id="{D39CEC28-75A6-43F3-9DE9-2436F3F4D9C6}"/>
              </a:ext>
            </a:extLst>
          </p:cNvPr>
          <p:cNvSpPr txBox="1">
            <a:spLocks/>
          </p:cNvSpPr>
          <p:nvPr>
            <p:custDataLst>
              <p:tags r:id="rId5"/>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Top"/>
          <p:cNvSpPr>
            <a:spLocks noGrp="1"/>
          </p:cNvSpPr>
          <p:nvPr>
            <p:ph sz="quarter" idx="13" hasCustomPrompt="1"/>
          </p:nvPr>
        </p:nvSpPr>
        <p:spPr>
          <a:xfrm>
            <a:off x="334800" y="1268412"/>
            <a:ext cx="11520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Bottom Left"/>
          <p:cNvSpPr>
            <a:spLocks noGrp="1"/>
          </p:cNvSpPr>
          <p:nvPr>
            <p:ph sz="quarter" idx="14"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Right"/>
          <p:cNvSpPr>
            <a:spLocks noGrp="1"/>
          </p:cNvSpPr>
          <p:nvPr>
            <p:ph sz="quarter" idx="15" hasCustomPrompt="1"/>
          </p:nvPr>
        </p:nvSpPr>
        <p:spPr>
          <a:xfrm>
            <a:off x="6166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3ADACDEE-D42E-4EEF-8504-614B0FC9EF75}"/>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F595BB6-F050-434C-AF4B-533D75C5E5D3}"/>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3ABBB783-BFC3-406F-9AE2-14E6D55F43A3}"/>
              </a:ext>
            </a:extLst>
          </p:cNvPr>
          <p:cNvSpPr>
            <a:spLocks noGrp="1"/>
          </p:cNvSpPr>
          <p:nvPr>
            <p:ph type="dt" sz="half" idx="16"/>
            <p:custDataLst>
              <p:tags r:id="rId7"/>
            </p:custDataLst>
          </p:nvPr>
        </p:nvSpPr>
        <p:spPr/>
        <p:txBody>
          <a:bodyPr/>
          <a:lstStyle/>
          <a:p>
            <a:endParaRPr lang="en-US" b="1"/>
          </a:p>
        </p:txBody>
      </p:sp>
      <p:sp>
        <p:nvSpPr>
          <p:cNvPr id="12" name="Footer Placeholder 11" hidden="1">
            <a:extLst>
              <a:ext uri="{FF2B5EF4-FFF2-40B4-BE49-F238E27FC236}">
                <a16:creationId xmlns:a16="http://schemas.microsoft.com/office/drawing/2014/main" id="{7DAA9CDC-CAD4-4554-97D9-7059E95FE638}"/>
              </a:ext>
            </a:extLst>
          </p:cNvPr>
          <p:cNvSpPr>
            <a:spLocks noGrp="1"/>
          </p:cNvSpPr>
          <p:nvPr>
            <p:ph type="ftr" sz="quarter" idx="17"/>
            <p:custDataLst>
              <p:tags r:id="rId8"/>
            </p:custDataLst>
          </p:nvPr>
        </p:nvSpPr>
        <p:spPr/>
        <p:txBody>
          <a:bodyPr/>
          <a:lstStyle/>
          <a:p>
            <a:endParaRPr lang="en-US"/>
          </a:p>
        </p:txBody>
      </p:sp>
      <p:sp>
        <p:nvSpPr>
          <p:cNvPr id="14" name="Slide Number Placeholder 13" hidden="1">
            <a:extLst>
              <a:ext uri="{FF2B5EF4-FFF2-40B4-BE49-F238E27FC236}">
                <a16:creationId xmlns:a16="http://schemas.microsoft.com/office/drawing/2014/main" id="{07C82FBB-C728-405A-8E31-DE02DA8D9177}"/>
              </a:ext>
            </a:extLst>
          </p:cNvPr>
          <p:cNvSpPr>
            <a:spLocks noGrp="1"/>
          </p:cNvSpPr>
          <p:nvPr>
            <p:ph type="sldNum" sz="quarter" idx="18"/>
            <p:custDataLst>
              <p:tags r:id="rId9"/>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03708507-303A-4696-8A49-D64DA70EAF1B}"/>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4" name="empower_footer_placeholder">
            <a:extLst>
              <a:ext uri="{FF2B5EF4-FFF2-40B4-BE49-F238E27FC236}">
                <a16:creationId xmlns:a16="http://schemas.microsoft.com/office/drawing/2014/main" id="{6EF526FC-147E-DA40-64AA-3C4AB98E38B6}"/>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5" name="empower_classification_placeholder">
            <a:extLst>
              <a:ext uri="{FF2B5EF4-FFF2-40B4-BE49-F238E27FC236}">
                <a16:creationId xmlns:a16="http://schemas.microsoft.com/office/drawing/2014/main" id="{D394B2B7-F80B-E7A6-7BB8-A1B69000DE66}"/>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16" name="empower_date_placeholder">
            <a:extLst>
              <a:ext uri="{FF2B5EF4-FFF2-40B4-BE49-F238E27FC236}">
                <a16:creationId xmlns:a16="http://schemas.microsoft.com/office/drawing/2014/main" id="{7F04C1BF-64C3-20FF-D5BB-D640B073F3C5}"/>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orient="horz" pos="2273">
          <p15:clr>
            <a:srgbClr val="FBAE40"/>
          </p15:clr>
        </p15:guide>
        <p15:guide id="2" orient="horz" pos="799">
          <p15:clr>
            <a:srgbClr val="FBAE40"/>
          </p15:clr>
        </p15:guide>
        <p15:guide id="3" orient="horz" pos="4020">
          <p15:clr>
            <a:srgbClr val="FBAE40"/>
          </p15:clr>
        </p15:guide>
        <p15:guide id="4" pos="7469">
          <p15:clr>
            <a:srgbClr val="FBAE40"/>
          </p15:clr>
        </p15:guide>
        <p15:guide id="5" pos="3885">
          <p15:clr>
            <a:srgbClr val="FBAE40"/>
          </p15:clr>
        </p15:guide>
        <p15:guide id="6" pos="3795">
          <p15:clr>
            <a:srgbClr val="FBAE40"/>
          </p15:clr>
        </p15:guide>
        <p15:guide id="7" pos="211">
          <p15:clr>
            <a:srgbClr val="FBAE40"/>
          </p15:clr>
        </p15:guide>
        <p15:guide id="8" orient="horz" pos="24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xOverObj" preserve="1">
  <p:cSld name="Row | 2 columns | row">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C812AE9A-81D7-4AE8-BC9F-85686450823C}"/>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A8D3527-E357-41F9-99D1-BCEAEC88D7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3A1A2EC5-F603-4F90-ADD8-B8933F3B810B}"/>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FA03A6F0-5545-409D-93A9-5E09698484A1}"/>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22" name="empower_classification_attention_placeholder" hidden="1">
            <a:extLst>
              <a:ext uri="{FF2B5EF4-FFF2-40B4-BE49-F238E27FC236}">
                <a16:creationId xmlns:a16="http://schemas.microsoft.com/office/drawing/2014/main" id="{5A896D99-24DF-4F81-9EC3-37F5EF05FFED}"/>
              </a:ext>
            </a:extLst>
          </p:cNvPr>
          <p:cNvSpPr txBox="1">
            <a:spLocks/>
          </p:cNvSpPr>
          <p:nvPr>
            <p:custDataLst>
              <p:tags r:id="rId5"/>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Top"/>
          <p:cNvSpPr>
            <a:spLocks noGrp="1"/>
          </p:cNvSpPr>
          <p:nvPr>
            <p:ph sz="quarter" idx="13" hasCustomPrompt="1"/>
          </p:nvPr>
        </p:nvSpPr>
        <p:spPr>
          <a:xfrm>
            <a:off x="334433" y="1268412"/>
            <a:ext cx="11521280" cy="126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Center Left"/>
          <p:cNvSpPr>
            <a:spLocks noGrp="1"/>
          </p:cNvSpPr>
          <p:nvPr>
            <p:ph sz="quarter" idx="14" hasCustomPrompt="1"/>
          </p:nvPr>
        </p:nvSpPr>
        <p:spPr>
          <a:xfrm>
            <a:off x="334800"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Right"/>
          <p:cNvSpPr>
            <a:spLocks noGrp="1"/>
          </p:cNvSpPr>
          <p:nvPr>
            <p:ph sz="quarter" idx="15" hasCustomPrompt="1"/>
          </p:nvPr>
        </p:nvSpPr>
        <p:spPr>
          <a:xfrm>
            <a:off x="6167437"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p:cNvSpPr>
            <a:spLocks noGrp="1"/>
          </p:cNvSpPr>
          <p:nvPr>
            <p:ph sz="quarter" idx="16" hasCustomPrompt="1"/>
          </p:nvPr>
        </p:nvSpPr>
        <p:spPr>
          <a:xfrm>
            <a:off x="334433" y="5085186"/>
            <a:ext cx="11521280" cy="1296567"/>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6" name="Title">
            <a:extLst>
              <a:ext uri="{FF2B5EF4-FFF2-40B4-BE49-F238E27FC236}">
                <a16:creationId xmlns:a16="http://schemas.microsoft.com/office/drawing/2014/main" id="{42CB6C61-472A-4F78-8808-601D74D8D1A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878DF235-2AD8-4C82-A0BD-D1BDFC873704}"/>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A9104FB9-0912-4A0F-BBB7-DF055F829451}"/>
              </a:ext>
            </a:extLst>
          </p:cNvPr>
          <p:cNvSpPr>
            <a:spLocks noGrp="1"/>
          </p:cNvSpPr>
          <p:nvPr>
            <p:ph type="dt" sz="half" idx="17"/>
            <p:custDataLst>
              <p:tags r:id="rId7"/>
            </p:custDataLst>
          </p:nvPr>
        </p:nvSpPr>
        <p:spPr/>
        <p:txBody>
          <a:bodyPr/>
          <a:lstStyle/>
          <a:p>
            <a:endParaRPr lang="en-US" b="1"/>
          </a:p>
        </p:txBody>
      </p:sp>
      <p:sp>
        <p:nvSpPr>
          <p:cNvPr id="14" name="Footer Placeholder 13" hidden="1">
            <a:extLst>
              <a:ext uri="{FF2B5EF4-FFF2-40B4-BE49-F238E27FC236}">
                <a16:creationId xmlns:a16="http://schemas.microsoft.com/office/drawing/2014/main" id="{E424A36D-7777-4A82-B12F-96CE1F877678}"/>
              </a:ext>
            </a:extLst>
          </p:cNvPr>
          <p:cNvSpPr>
            <a:spLocks noGrp="1"/>
          </p:cNvSpPr>
          <p:nvPr>
            <p:ph type="ftr" sz="quarter" idx="18"/>
            <p:custDataLst>
              <p:tags r:id="rId8"/>
            </p:custDataLst>
          </p:nvPr>
        </p:nvSpPr>
        <p:spPr/>
        <p:txBody>
          <a:bodyPr/>
          <a:lstStyle/>
          <a:p>
            <a:endParaRPr lang="en-US"/>
          </a:p>
        </p:txBody>
      </p:sp>
      <p:sp>
        <p:nvSpPr>
          <p:cNvPr id="15" name="Slide Number Placeholder 14" hidden="1">
            <a:extLst>
              <a:ext uri="{FF2B5EF4-FFF2-40B4-BE49-F238E27FC236}">
                <a16:creationId xmlns:a16="http://schemas.microsoft.com/office/drawing/2014/main" id="{E1CCD2B2-40D2-43D5-80C4-5322AD403334}"/>
              </a:ext>
            </a:extLst>
          </p:cNvPr>
          <p:cNvSpPr>
            <a:spLocks noGrp="1"/>
          </p:cNvSpPr>
          <p:nvPr>
            <p:ph type="sldNum" sz="quarter" idx="19"/>
            <p:custDataLst>
              <p:tags r:id="rId9"/>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1235F132-B0A2-4CF3-A146-5DF950DFB464}"/>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4" name="empower_footer_placeholder">
            <a:extLst>
              <a:ext uri="{FF2B5EF4-FFF2-40B4-BE49-F238E27FC236}">
                <a16:creationId xmlns:a16="http://schemas.microsoft.com/office/drawing/2014/main" id="{97334A24-1482-111D-F782-32FD41B090E1}"/>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5" name="empower_classification_placeholder">
            <a:extLst>
              <a:ext uri="{FF2B5EF4-FFF2-40B4-BE49-F238E27FC236}">
                <a16:creationId xmlns:a16="http://schemas.microsoft.com/office/drawing/2014/main" id="{2E548871-B2FA-ED76-CE8B-E94E66279F8C}"/>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17" name="empower_date_placeholder">
            <a:extLst>
              <a:ext uri="{FF2B5EF4-FFF2-40B4-BE49-F238E27FC236}">
                <a16:creationId xmlns:a16="http://schemas.microsoft.com/office/drawing/2014/main" id="{54A2C86A-81E1-2F37-061E-440DC018FF13}"/>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pos="3885">
          <p15:clr>
            <a:srgbClr val="FBAE40"/>
          </p15:clr>
        </p15:guide>
        <p15:guide id="2" pos="3795">
          <p15:clr>
            <a:srgbClr val="FBAE40"/>
          </p15:clr>
        </p15:guide>
        <p15:guide id="3" pos="211">
          <p15:clr>
            <a:srgbClr val="FBAE40"/>
          </p15:clr>
        </p15:guide>
        <p15:guide id="4" pos="7469">
          <p15:clr>
            <a:srgbClr val="FBAE40"/>
          </p15:clr>
        </p15:guide>
        <p15:guide id="5" orient="horz" pos="799">
          <p15:clr>
            <a:srgbClr val="FBAE40"/>
          </p15:clr>
        </p15:guide>
        <p15:guide id="6" orient="horz" pos="1593">
          <p15:clr>
            <a:srgbClr val="FBAE40"/>
          </p15:clr>
        </p15:guide>
        <p15:guide id="7" orient="horz" pos="1752">
          <p15:clr>
            <a:srgbClr val="FBAE40"/>
          </p15:clr>
        </p15:guide>
        <p15:guide id="8" orient="horz" pos="2999">
          <p15:clr>
            <a:srgbClr val="FBAE40"/>
          </p15:clr>
        </p15:guide>
        <p15:guide id="9" orient="horz" pos="3203">
          <p15:clr>
            <a:srgbClr val="FBAE40"/>
          </p15:clr>
        </p15:guide>
        <p15:guide id="10" orient="horz" pos="40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7FB993A8-52D6-439E-9FD7-796FB1371096}"/>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112013B0-A00B-4A1F-90FB-E2E8B2F86D5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FC3769D5-91E6-43B0-BC4B-C0040A71CFD6}"/>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B0E0CB85-0435-4FEC-B2B6-D19200B62923}"/>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21" name="empower_classification_attention_placeholder" hidden="1">
            <a:extLst>
              <a:ext uri="{FF2B5EF4-FFF2-40B4-BE49-F238E27FC236}">
                <a16:creationId xmlns:a16="http://schemas.microsoft.com/office/drawing/2014/main" id="{8C605CA2-9EAD-450F-BC1B-8D9AF92E5875}"/>
              </a:ext>
            </a:extLst>
          </p:cNvPr>
          <p:cNvSpPr txBox="1">
            <a:spLocks/>
          </p:cNvSpPr>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Left"/>
          <p:cNvSpPr>
            <a:spLocks noGrp="1"/>
          </p:cNvSpPr>
          <p:nvPr>
            <p:ph sz="quarter" idx="13" hasCustomPrompt="1"/>
          </p:nvPr>
        </p:nvSpPr>
        <p:spPr>
          <a:xfrm>
            <a:off x="334800" y="1268414"/>
            <a:ext cx="3744384"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Center"/>
          <p:cNvSpPr>
            <a:spLocks noGrp="1"/>
          </p:cNvSpPr>
          <p:nvPr>
            <p:ph sz="quarter" idx="14" hasCustomPrompt="1"/>
          </p:nvPr>
        </p:nvSpPr>
        <p:spPr>
          <a:xfrm>
            <a:off x="4262399" y="1268414"/>
            <a:ext cx="3672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Right"/>
          <p:cNvSpPr>
            <a:spLocks noGrp="1"/>
          </p:cNvSpPr>
          <p:nvPr>
            <p:ph sz="quarter" idx="15" hasCustomPrompt="1"/>
          </p:nvPr>
        </p:nvSpPr>
        <p:spPr>
          <a:xfrm>
            <a:off x="8113184" y="1268414"/>
            <a:ext cx="3744416"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A635AE4-FE20-4282-BFFD-96EBDCED60D9}"/>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6E14A5B-9E91-4287-8D3D-9F9C469D8ECA}"/>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210BD89C-2BAC-459E-A79D-05B6C0B33362}"/>
              </a:ext>
            </a:extLst>
          </p:cNvPr>
          <p:cNvSpPr>
            <a:spLocks noGrp="1"/>
          </p:cNvSpPr>
          <p:nvPr>
            <p:ph type="dt" sz="half" idx="16"/>
            <p:custDataLst>
              <p:tags r:id="rId7"/>
            </p:custDataLst>
          </p:nvPr>
        </p:nvSpPr>
        <p:spPr/>
        <p:txBody>
          <a:bodyPr/>
          <a:lstStyle/>
          <a:p>
            <a:endParaRPr lang="en-US" b="1"/>
          </a:p>
        </p:txBody>
      </p:sp>
      <p:sp>
        <p:nvSpPr>
          <p:cNvPr id="12" name="Footer Placeholder 11" hidden="1">
            <a:extLst>
              <a:ext uri="{FF2B5EF4-FFF2-40B4-BE49-F238E27FC236}">
                <a16:creationId xmlns:a16="http://schemas.microsoft.com/office/drawing/2014/main" id="{13A018B2-30A4-435D-A599-2BE57EAB5CBC}"/>
              </a:ext>
            </a:extLst>
          </p:cNvPr>
          <p:cNvSpPr>
            <a:spLocks noGrp="1"/>
          </p:cNvSpPr>
          <p:nvPr>
            <p:ph type="ftr" sz="quarter" idx="17"/>
            <p:custDataLst>
              <p:tags r:id="rId8"/>
            </p:custDataLst>
          </p:nvPr>
        </p:nvSpPr>
        <p:spPr/>
        <p:txBody>
          <a:bodyPr/>
          <a:lstStyle/>
          <a:p>
            <a:endParaRPr lang="en-US"/>
          </a:p>
        </p:txBody>
      </p:sp>
      <p:sp>
        <p:nvSpPr>
          <p:cNvPr id="14" name="Slide Number Placeholder 13" hidden="1">
            <a:extLst>
              <a:ext uri="{FF2B5EF4-FFF2-40B4-BE49-F238E27FC236}">
                <a16:creationId xmlns:a16="http://schemas.microsoft.com/office/drawing/2014/main" id="{B6CA23A5-CFDD-4B39-B853-6A18A878BFBF}"/>
              </a:ext>
            </a:extLst>
          </p:cNvPr>
          <p:cNvSpPr>
            <a:spLocks noGrp="1"/>
          </p:cNvSpPr>
          <p:nvPr>
            <p:ph type="sldNum" sz="quarter" idx="18"/>
            <p:custDataLst>
              <p:tags r:id="rId9"/>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226441E8-60EA-42A3-B978-BA612ACACF40}"/>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4" name="empower_footer_placeholder">
            <a:extLst>
              <a:ext uri="{FF2B5EF4-FFF2-40B4-BE49-F238E27FC236}">
                <a16:creationId xmlns:a16="http://schemas.microsoft.com/office/drawing/2014/main" id="{19BDFBCA-0E6C-EFAA-4799-1314256F0881}"/>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5" name="empower_classification_placeholder">
            <a:extLst>
              <a:ext uri="{FF2B5EF4-FFF2-40B4-BE49-F238E27FC236}">
                <a16:creationId xmlns:a16="http://schemas.microsoft.com/office/drawing/2014/main" id="{780C9373-C70C-270A-2B1F-DFB0060722D2}"/>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16" name="empower_date_placeholder">
            <a:extLst>
              <a:ext uri="{FF2B5EF4-FFF2-40B4-BE49-F238E27FC236}">
                <a16:creationId xmlns:a16="http://schemas.microsoft.com/office/drawing/2014/main" id="{92CA6298-C8E0-1BF5-60FA-755A69D3271E}"/>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orient="horz" pos="4020">
          <p15:clr>
            <a:srgbClr val="FBAE40"/>
          </p15:clr>
        </p15:guide>
        <p15:guide id="2" orient="horz" pos="799">
          <p15:clr>
            <a:srgbClr val="FBAE40"/>
          </p15:clr>
        </p15:guide>
        <p15:guide id="3" pos="4997">
          <p15:clr>
            <a:srgbClr val="FBAE40"/>
          </p15:clr>
        </p15:guide>
        <p15:guide id="4" pos="2683">
          <p15:clr>
            <a:srgbClr val="FBAE40"/>
          </p15:clr>
        </p15:guide>
        <p15:guide id="5" pos="2570">
          <p15:clr>
            <a:srgbClr val="FBAE40"/>
          </p15:clr>
        </p15:guide>
        <p15:guide id="6" pos="5110">
          <p15:clr>
            <a:srgbClr val="FBAE40"/>
          </p15:clr>
        </p15:guide>
        <p15:guide id="7" pos="211">
          <p15:clr>
            <a:srgbClr val="FBAE40"/>
          </p15:clr>
        </p15:guide>
        <p15:guide id="8" pos="746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OverTx" preserve="1">
  <p:cSld name="Row | 3 column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488416C1-009C-4276-862C-859A39D89869}"/>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192327F-A51B-41E2-B3F1-79934B2829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EE529511-279F-4E8D-B98F-7745CB480D7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7712C297-5B52-4E05-AEC3-8C81F2A74EE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22" name="empower_classification_attention_placeholder" hidden="1">
            <a:extLst>
              <a:ext uri="{FF2B5EF4-FFF2-40B4-BE49-F238E27FC236}">
                <a16:creationId xmlns:a16="http://schemas.microsoft.com/office/drawing/2014/main" id="{EB4DD739-504C-48CA-BA98-DEE0B3A91EAB}"/>
              </a:ext>
            </a:extLst>
          </p:cNvPr>
          <p:cNvSpPr txBox="1">
            <a:spLocks/>
          </p:cNvSpPr>
          <p:nvPr>
            <p:custDataLst>
              <p:tags r:id="rId5"/>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Top"/>
          <p:cNvSpPr>
            <a:spLocks noGrp="1"/>
          </p:cNvSpPr>
          <p:nvPr>
            <p:ph sz="quarter" idx="13" hasCustomPrompt="1"/>
          </p:nvPr>
        </p:nvSpPr>
        <p:spPr>
          <a:xfrm>
            <a:off x="334800" y="1268414"/>
            <a:ext cx="11521280" cy="1368425"/>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Left"/>
          <p:cNvSpPr>
            <a:spLocks noGrp="1"/>
          </p:cNvSpPr>
          <p:nvPr>
            <p:ph sz="quarter" idx="14" hasCustomPrompt="1"/>
          </p:nvPr>
        </p:nvSpPr>
        <p:spPr>
          <a:xfrm>
            <a:off x="334800" y="2781300"/>
            <a:ext cx="3744000"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p:cNvSpPr>
            <a:spLocks noGrp="1"/>
          </p:cNvSpPr>
          <p:nvPr>
            <p:ph sz="quarter" idx="15" hasCustomPrompt="1"/>
          </p:nvPr>
        </p:nvSpPr>
        <p:spPr>
          <a:xfrm>
            <a:off x="4259262" y="2781300"/>
            <a:ext cx="3673475"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Right"/>
          <p:cNvSpPr>
            <a:spLocks noGrp="1"/>
          </p:cNvSpPr>
          <p:nvPr>
            <p:ph sz="quarter" idx="16" hasCustomPrompt="1"/>
          </p:nvPr>
        </p:nvSpPr>
        <p:spPr>
          <a:xfrm>
            <a:off x="8113186" y="2781300"/>
            <a:ext cx="3744383"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6C581746-1B2C-4D98-9755-6221A3ED9E38}"/>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7AAAECD1-71D2-46B6-BF2D-6007823BA888}"/>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EA8AF054-4363-4E54-A605-8A5E7CD05422}"/>
              </a:ext>
            </a:extLst>
          </p:cNvPr>
          <p:cNvSpPr>
            <a:spLocks noGrp="1"/>
          </p:cNvSpPr>
          <p:nvPr>
            <p:ph type="dt" sz="half" idx="17"/>
            <p:custDataLst>
              <p:tags r:id="rId7"/>
            </p:custDataLst>
          </p:nvPr>
        </p:nvSpPr>
        <p:spPr/>
        <p:txBody>
          <a:bodyPr/>
          <a:lstStyle/>
          <a:p>
            <a:endParaRPr lang="en-US" b="1"/>
          </a:p>
        </p:txBody>
      </p:sp>
      <p:sp>
        <p:nvSpPr>
          <p:cNvPr id="14" name="Footer Placeholder 13" hidden="1">
            <a:extLst>
              <a:ext uri="{FF2B5EF4-FFF2-40B4-BE49-F238E27FC236}">
                <a16:creationId xmlns:a16="http://schemas.microsoft.com/office/drawing/2014/main" id="{C839DAF8-6F4C-441B-B45B-348B7EA8B4B3}"/>
              </a:ext>
            </a:extLst>
          </p:cNvPr>
          <p:cNvSpPr>
            <a:spLocks noGrp="1"/>
          </p:cNvSpPr>
          <p:nvPr>
            <p:ph type="ftr" sz="quarter" idx="18"/>
            <p:custDataLst>
              <p:tags r:id="rId8"/>
            </p:custDataLst>
          </p:nvPr>
        </p:nvSpPr>
        <p:spPr/>
        <p:txBody>
          <a:bodyPr/>
          <a:lstStyle/>
          <a:p>
            <a:endParaRPr lang="en-US"/>
          </a:p>
        </p:txBody>
      </p:sp>
      <p:sp>
        <p:nvSpPr>
          <p:cNvPr id="15" name="Slide Number Placeholder 14" hidden="1">
            <a:extLst>
              <a:ext uri="{FF2B5EF4-FFF2-40B4-BE49-F238E27FC236}">
                <a16:creationId xmlns:a16="http://schemas.microsoft.com/office/drawing/2014/main" id="{0CBA086A-526B-43F0-BEDE-EC3219CC7834}"/>
              </a:ext>
            </a:extLst>
          </p:cNvPr>
          <p:cNvSpPr>
            <a:spLocks noGrp="1"/>
          </p:cNvSpPr>
          <p:nvPr>
            <p:ph type="sldNum" sz="quarter" idx="19"/>
            <p:custDataLst>
              <p:tags r:id="rId9"/>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F76E7CBE-7230-4110-85FB-3718D4B81343}"/>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4" name="empower_footer_placeholder">
            <a:extLst>
              <a:ext uri="{FF2B5EF4-FFF2-40B4-BE49-F238E27FC236}">
                <a16:creationId xmlns:a16="http://schemas.microsoft.com/office/drawing/2014/main" id="{CEF56566-2B0F-E3F6-41FA-55A159C81DE9}"/>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5" name="empower_classification_placeholder">
            <a:extLst>
              <a:ext uri="{FF2B5EF4-FFF2-40B4-BE49-F238E27FC236}">
                <a16:creationId xmlns:a16="http://schemas.microsoft.com/office/drawing/2014/main" id="{7141DD96-38A9-A4AB-7474-C10B331BFDDC}"/>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17" name="empower_date_placeholder">
            <a:extLst>
              <a:ext uri="{FF2B5EF4-FFF2-40B4-BE49-F238E27FC236}">
                <a16:creationId xmlns:a16="http://schemas.microsoft.com/office/drawing/2014/main" id="{1C0615B3-0D85-1379-3158-31BECB8FAC7F}"/>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pos="4997">
          <p15:clr>
            <a:srgbClr val="FBAE40"/>
          </p15:clr>
        </p15:guide>
        <p15:guide id="2" pos="5110">
          <p15:clr>
            <a:srgbClr val="FBAE40"/>
          </p15:clr>
        </p15:guide>
        <p15:guide id="3" pos="7469">
          <p15:clr>
            <a:srgbClr val="FBAE40"/>
          </p15:clr>
        </p15:guide>
        <p15:guide id="4" pos="2683">
          <p15:clr>
            <a:srgbClr val="FBAE40"/>
          </p15:clr>
        </p15:guide>
        <p15:guide id="5" pos="2570">
          <p15:clr>
            <a:srgbClr val="FBAE40"/>
          </p15:clr>
        </p15:guide>
        <p15:guide id="6" pos="211">
          <p15:clr>
            <a:srgbClr val="FBAE40"/>
          </p15:clr>
        </p15:guide>
        <p15:guide id="7" orient="horz" pos="799">
          <p15:clr>
            <a:srgbClr val="FBAE40"/>
          </p15:clr>
        </p15:guide>
        <p15:guide id="8" orient="horz" pos="4020">
          <p15:clr>
            <a:srgbClr val="FBAE40"/>
          </p15:clr>
        </p15:guide>
        <p15:guide id="9" orient="horz" pos="1661">
          <p15:clr>
            <a:srgbClr val="FBAE40"/>
          </p15:clr>
        </p15:guide>
        <p15:guide id="10" orient="horz" pos="175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xAndMedia" preserve="1">
  <p:cSld name="4 columns">
    <p:spTree>
      <p:nvGrpSpPr>
        <p:cNvPr id="1" name=""/>
        <p:cNvGrpSpPr/>
        <p:nvPr/>
      </p:nvGrpSpPr>
      <p:grpSpPr>
        <a:xfrm>
          <a:off x="0" y="0"/>
          <a:ext cx="0" cy="0"/>
          <a:chOff x="0" y="0"/>
          <a:chExt cx="0" cy="0"/>
        </a:xfrm>
      </p:grpSpPr>
      <p:sp>
        <p:nvSpPr>
          <p:cNvPr id="11" name="empower_additionalText_placeholder" hidden="1">
            <a:extLst>
              <a:ext uri="{FF2B5EF4-FFF2-40B4-BE49-F238E27FC236}">
                <a16:creationId xmlns:a16="http://schemas.microsoft.com/office/drawing/2014/main" id="{5BFFD0DD-DDFD-422B-86D9-F164E68C0538}"/>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DF070F93-7F88-456A-894C-885F8AC591A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9A5FF993-F527-4569-A066-E8D346767DE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09C3987-21ED-4B60-B90F-837FB1F2A7A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10" name="empower_classification_attention_placeholder" hidden="1">
            <a:extLst>
              <a:ext uri="{FF2B5EF4-FFF2-40B4-BE49-F238E27FC236}">
                <a16:creationId xmlns:a16="http://schemas.microsoft.com/office/drawing/2014/main" id="{40F47B66-9156-4480-85AF-99EB0563F553}"/>
              </a:ext>
            </a:extLst>
          </p:cNvPr>
          <p:cNvSpPr txBox="1"/>
          <p:nvPr>
            <p:custDataLst>
              <p:tags r:id="rId5"/>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8" name="Content Left">
            <a:extLst>
              <a:ext uri="{FF2B5EF4-FFF2-40B4-BE49-F238E27FC236}">
                <a16:creationId xmlns:a16="http://schemas.microsoft.com/office/drawing/2014/main" id="{371B7856-37AA-4EBD-9A28-1045DC90A92A}"/>
              </a:ext>
            </a:extLst>
          </p:cNvPr>
          <p:cNvSpPr>
            <a:spLocks noGrp="1"/>
          </p:cNvSpPr>
          <p:nvPr>
            <p:ph sz="quarter" idx="20" hasCustomPrompt="1"/>
          </p:nvPr>
        </p:nvSpPr>
        <p:spPr>
          <a:xfrm>
            <a:off x="334799" y="1268414"/>
            <a:ext cx="2808000"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Center Left">
            <a:extLst>
              <a:ext uri="{FF2B5EF4-FFF2-40B4-BE49-F238E27FC236}">
                <a16:creationId xmlns:a16="http://schemas.microsoft.com/office/drawing/2014/main" id="{AB4408A9-DF90-4D32-8AE8-9278539718C0}"/>
              </a:ext>
            </a:extLst>
          </p:cNvPr>
          <p:cNvSpPr>
            <a:spLocks noGrp="1"/>
          </p:cNvSpPr>
          <p:nvPr>
            <p:ph sz="quarter" idx="21" hasCustomPrompt="1"/>
          </p:nvPr>
        </p:nvSpPr>
        <p:spPr>
          <a:xfrm>
            <a:off x="3324225"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Center Right">
            <a:extLst>
              <a:ext uri="{FF2B5EF4-FFF2-40B4-BE49-F238E27FC236}">
                <a16:creationId xmlns:a16="http://schemas.microsoft.com/office/drawing/2014/main" id="{FFF96914-9970-46DB-82A4-AB1B80110378}"/>
              </a:ext>
            </a:extLst>
          </p:cNvPr>
          <p:cNvSpPr>
            <a:spLocks noGrp="1"/>
          </p:cNvSpPr>
          <p:nvPr>
            <p:ph sz="quarter" idx="22" hasCustomPrompt="1"/>
          </p:nvPr>
        </p:nvSpPr>
        <p:spPr>
          <a:xfrm>
            <a:off x="6203950"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Right">
            <a:extLst>
              <a:ext uri="{FF2B5EF4-FFF2-40B4-BE49-F238E27FC236}">
                <a16:creationId xmlns:a16="http://schemas.microsoft.com/office/drawing/2014/main" id="{6803C6B1-D864-4BE6-AE1F-CA280F4DABD8}"/>
              </a:ext>
            </a:extLst>
          </p:cNvPr>
          <p:cNvSpPr>
            <a:spLocks noGrp="1"/>
          </p:cNvSpPr>
          <p:nvPr>
            <p:ph sz="quarter" idx="23" hasCustomPrompt="1"/>
          </p:nvPr>
        </p:nvSpPr>
        <p:spPr>
          <a:xfrm>
            <a:off x="9048750" y="1268414"/>
            <a:ext cx="2807593"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CDD773CC-FCEC-46C8-A75B-E70A26A7BF5B}"/>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FC67C23C-8514-4FAA-ABF5-040B63DA67C4}"/>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735BE885-8732-4220-942B-E6D8F286274D}"/>
              </a:ext>
            </a:extLst>
          </p:cNvPr>
          <p:cNvSpPr>
            <a:spLocks noGrp="1"/>
          </p:cNvSpPr>
          <p:nvPr>
            <p:ph type="dt" sz="half" idx="24"/>
            <p:custDataLst>
              <p:tags r:id="rId7"/>
            </p:custDataLst>
          </p:nvPr>
        </p:nvSpPr>
        <p:spPr/>
        <p:txBody>
          <a:bodyPr/>
          <a:lstStyle/>
          <a:p>
            <a:endParaRPr lang="en-US" b="1"/>
          </a:p>
        </p:txBody>
      </p:sp>
      <p:sp>
        <p:nvSpPr>
          <p:cNvPr id="13" name="Footer Placeholder 12" hidden="1">
            <a:extLst>
              <a:ext uri="{FF2B5EF4-FFF2-40B4-BE49-F238E27FC236}">
                <a16:creationId xmlns:a16="http://schemas.microsoft.com/office/drawing/2014/main" id="{30570D12-AEFF-4406-B206-CB0D80D8FF49}"/>
              </a:ext>
            </a:extLst>
          </p:cNvPr>
          <p:cNvSpPr>
            <a:spLocks noGrp="1"/>
          </p:cNvSpPr>
          <p:nvPr>
            <p:ph type="ftr" sz="quarter" idx="25"/>
            <p:custDataLst>
              <p:tags r:id="rId8"/>
            </p:custDataLst>
          </p:nvPr>
        </p:nvSpPr>
        <p:spPr/>
        <p:txBody>
          <a:bodyPr/>
          <a:lstStyle/>
          <a:p>
            <a:endParaRPr lang="en-US"/>
          </a:p>
        </p:txBody>
      </p:sp>
      <p:sp>
        <p:nvSpPr>
          <p:cNvPr id="16" name="Slide Number Placeholder 15" hidden="1">
            <a:extLst>
              <a:ext uri="{FF2B5EF4-FFF2-40B4-BE49-F238E27FC236}">
                <a16:creationId xmlns:a16="http://schemas.microsoft.com/office/drawing/2014/main" id="{C49E2653-C8D1-4594-B3A4-0606A88CBB62}"/>
              </a:ext>
            </a:extLst>
          </p:cNvPr>
          <p:cNvSpPr>
            <a:spLocks noGrp="1"/>
          </p:cNvSpPr>
          <p:nvPr>
            <p:ph type="sldNum" sz="quarter" idx="26"/>
            <p:custDataLst>
              <p:tags r:id="rId9"/>
            </p:custDataLst>
          </p:nvPr>
        </p:nvSpPr>
        <p:spPr/>
        <p:txBody>
          <a:bodyPr/>
          <a:lstStyle/>
          <a:p>
            <a:r>
              <a:rPr lang="en-US"/>
              <a:t> </a:t>
            </a:r>
          </a:p>
        </p:txBody>
      </p:sp>
      <p:sp>
        <p:nvSpPr>
          <p:cNvPr id="18" name="MIO_Placeholder_Mapping" hidden="1">
            <a:extLst>
              <a:ext uri="{FF2B5EF4-FFF2-40B4-BE49-F238E27FC236}">
                <a16:creationId xmlns:a16="http://schemas.microsoft.com/office/drawing/2014/main" id="{12ADA7AE-DD1C-409A-B0A5-6D14FF7BF270}"/>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14" name="empower_footer_placeholder">
            <a:extLst>
              <a:ext uri="{FF2B5EF4-FFF2-40B4-BE49-F238E27FC236}">
                <a16:creationId xmlns:a16="http://schemas.microsoft.com/office/drawing/2014/main" id="{2E23C1A0-0B35-5ED8-4F8F-AA76F511D46D}"/>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19" name="empower_classification_placeholder">
            <a:extLst>
              <a:ext uri="{FF2B5EF4-FFF2-40B4-BE49-F238E27FC236}">
                <a16:creationId xmlns:a16="http://schemas.microsoft.com/office/drawing/2014/main" id="{45A0B6A0-CF1A-36BB-AA8F-577E96BE9F5D}"/>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20" name="empower_date_placeholder">
            <a:extLst>
              <a:ext uri="{FF2B5EF4-FFF2-40B4-BE49-F238E27FC236}">
                <a16:creationId xmlns:a16="http://schemas.microsoft.com/office/drawing/2014/main" id="{9A1157CF-651C-12D5-49FC-F636EB0836E2}"/>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4020">
          <p15:clr>
            <a:srgbClr val="FBAE40"/>
          </p15:clr>
        </p15:guide>
        <p15:guide id="3" pos="7469">
          <p15:clr>
            <a:srgbClr val="FBAE40"/>
          </p15:clr>
        </p15:guide>
        <p15:guide id="4" pos="211">
          <p15:clr>
            <a:srgbClr val="FBAE40"/>
          </p15:clr>
        </p15:guide>
        <p15:guide id="5" pos="3908">
          <p15:clr>
            <a:srgbClr val="FBAE40"/>
          </p15:clr>
        </p15:guide>
        <p15:guide id="6" pos="3772">
          <p15:clr>
            <a:srgbClr val="FBAE40"/>
          </p15:clr>
        </p15:guide>
        <p15:guide id="7" pos="5586">
          <p15:clr>
            <a:srgbClr val="FBAE40"/>
          </p15:clr>
        </p15:guide>
        <p15:guide id="8" pos="5700">
          <p15:clr>
            <a:srgbClr val="FBAE40"/>
          </p15:clr>
        </p15:guide>
        <p15:guide id="9" pos="1980">
          <p15:clr>
            <a:srgbClr val="FBAE40"/>
          </p15:clr>
        </p15:guide>
        <p15:guide id="10" pos="209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OverTx" preserve="1">
  <p:cSld name="Row | 4 columns">
    <p:spTree>
      <p:nvGrpSpPr>
        <p:cNvPr id="1" name=""/>
        <p:cNvGrpSpPr/>
        <p:nvPr/>
      </p:nvGrpSpPr>
      <p:grpSpPr>
        <a:xfrm>
          <a:off x="0" y="0"/>
          <a:ext cx="0" cy="0"/>
          <a:chOff x="0" y="0"/>
          <a:chExt cx="0" cy="0"/>
        </a:xfrm>
      </p:grpSpPr>
      <p:sp>
        <p:nvSpPr>
          <p:cNvPr id="13" name="empower_additionalText_placeholder" hidden="1">
            <a:extLst>
              <a:ext uri="{FF2B5EF4-FFF2-40B4-BE49-F238E27FC236}">
                <a16:creationId xmlns:a16="http://schemas.microsoft.com/office/drawing/2014/main" id="{598DE9EE-A198-41B5-9814-41C66F96D3B0}"/>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0AFB1D71-5FD7-446C-90B5-1DE68C513BD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57168C6C-B95E-4260-9301-8D1D5988F67B}"/>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29E2230-F28C-4139-A2F7-536C0BDB8E99}"/>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10" name="empower_classification_attention_placeholder" hidden="1">
            <a:extLst>
              <a:ext uri="{FF2B5EF4-FFF2-40B4-BE49-F238E27FC236}">
                <a16:creationId xmlns:a16="http://schemas.microsoft.com/office/drawing/2014/main" id="{333A1F8F-A990-434A-92C1-D59A014E7AFF}"/>
              </a:ext>
            </a:extLst>
          </p:cNvPr>
          <p:cNvSpPr txBox="1"/>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8" name="Content Top">
            <a:extLst>
              <a:ext uri="{FF2B5EF4-FFF2-40B4-BE49-F238E27FC236}">
                <a16:creationId xmlns:a16="http://schemas.microsoft.com/office/drawing/2014/main" id="{B528FDA5-64C4-4079-B7B7-97722BA30039}"/>
              </a:ext>
            </a:extLst>
          </p:cNvPr>
          <p:cNvSpPr>
            <a:spLocks noGrp="1"/>
          </p:cNvSpPr>
          <p:nvPr>
            <p:ph sz="quarter" idx="21" hasCustomPrompt="1"/>
          </p:nvPr>
        </p:nvSpPr>
        <p:spPr>
          <a:xfrm>
            <a:off x="334800" y="1268414"/>
            <a:ext cx="11521280" cy="1368425"/>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12" name="Content Left">
            <a:extLst>
              <a:ext uri="{FF2B5EF4-FFF2-40B4-BE49-F238E27FC236}">
                <a16:creationId xmlns:a16="http://schemas.microsoft.com/office/drawing/2014/main" id="{11455573-DB68-4634-9EB0-10FDA72EB09C}"/>
              </a:ext>
            </a:extLst>
          </p:cNvPr>
          <p:cNvSpPr>
            <a:spLocks noGrp="1"/>
          </p:cNvSpPr>
          <p:nvPr>
            <p:ph sz="quarter" idx="22" hasCustomPrompt="1"/>
          </p:nvPr>
        </p:nvSpPr>
        <p:spPr>
          <a:xfrm>
            <a:off x="334800" y="2781300"/>
            <a:ext cx="2808000"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Center Left">
            <a:extLst>
              <a:ext uri="{FF2B5EF4-FFF2-40B4-BE49-F238E27FC236}">
                <a16:creationId xmlns:a16="http://schemas.microsoft.com/office/drawing/2014/main" id="{DF6A34C2-8D0D-4C18-BD01-86B1344A92DF}"/>
              </a:ext>
            </a:extLst>
          </p:cNvPr>
          <p:cNvSpPr>
            <a:spLocks noGrp="1"/>
          </p:cNvSpPr>
          <p:nvPr>
            <p:ph sz="quarter" idx="23" hasCustomPrompt="1"/>
          </p:nvPr>
        </p:nvSpPr>
        <p:spPr>
          <a:xfrm>
            <a:off x="3324225"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Content Center Right">
            <a:extLst>
              <a:ext uri="{FF2B5EF4-FFF2-40B4-BE49-F238E27FC236}">
                <a16:creationId xmlns:a16="http://schemas.microsoft.com/office/drawing/2014/main" id="{A331F240-D4BB-4096-BFB7-002D583A4FC9}"/>
              </a:ext>
            </a:extLst>
          </p:cNvPr>
          <p:cNvSpPr>
            <a:spLocks noGrp="1"/>
          </p:cNvSpPr>
          <p:nvPr>
            <p:ph sz="quarter" idx="24" hasCustomPrompt="1"/>
          </p:nvPr>
        </p:nvSpPr>
        <p:spPr>
          <a:xfrm>
            <a:off x="6203950"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Right">
            <a:extLst>
              <a:ext uri="{FF2B5EF4-FFF2-40B4-BE49-F238E27FC236}">
                <a16:creationId xmlns:a16="http://schemas.microsoft.com/office/drawing/2014/main" id="{2BEB3BE2-22F6-4B6B-AB28-F38AB449DED5}"/>
              </a:ext>
            </a:extLst>
          </p:cNvPr>
          <p:cNvSpPr>
            <a:spLocks noGrp="1"/>
          </p:cNvSpPr>
          <p:nvPr>
            <p:ph sz="quarter" idx="25" hasCustomPrompt="1"/>
          </p:nvPr>
        </p:nvSpPr>
        <p:spPr>
          <a:xfrm>
            <a:off x="9048750" y="2781300"/>
            <a:ext cx="2807593"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B9A27F18-A46A-4C29-AB62-7BEB5215CA6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DDE018F7-7CB9-4F69-872D-4609CBE453C0}"/>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580E7AAC-C545-4F05-8939-1B218CC948D8}"/>
              </a:ext>
            </a:extLst>
          </p:cNvPr>
          <p:cNvSpPr>
            <a:spLocks noGrp="1"/>
          </p:cNvSpPr>
          <p:nvPr>
            <p:ph type="dt" sz="half" idx="26"/>
            <p:custDataLst>
              <p:tags r:id="rId7"/>
            </p:custDataLst>
          </p:nvPr>
        </p:nvSpPr>
        <p:spPr/>
        <p:txBody>
          <a:bodyPr/>
          <a:lstStyle/>
          <a:p>
            <a:endParaRPr lang="en-US" b="1"/>
          </a:p>
        </p:txBody>
      </p:sp>
      <p:sp>
        <p:nvSpPr>
          <p:cNvPr id="14" name="Footer Placeholder 13" hidden="1">
            <a:extLst>
              <a:ext uri="{FF2B5EF4-FFF2-40B4-BE49-F238E27FC236}">
                <a16:creationId xmlns:a16="http://schemas.microsoft.com/office/drawing/2014/main" id="{86E86CFC-21FB-497B-BD25-729619D70F13}"/>
              </a:ext>
            </a:extLst>
          </p:cNvPr>
          <p:cNvSpPr>
            <a:spLocks noGrp="1"/>
          </p:cNvSpPr>
          <p:nvPr>
            <p:ph type="ftr" sz="quarter" idx="27"/>
            <p:custDataLst>
              <p:tags r:id="rId8"/>
            </p:custDataLst>
          </p:nvPr>
        </p:nvSpPr>
        <p:spPr/>
        <p:txBody>
          <a:bodyPr/>
          <a:lstStyle/>
          <a:p>
            <a:endParaRPr lang="en-US"/>
          </a:p>
        </p:txBody>
      </p:sp>
      <p:sp>
        <p:nvSpPr>
          <p:cNvPr id="17" name="Slide Number Placeholder 16" hidden="1">
            <a:extLst>
              <a:ext uri="{FF2B5EF4-FFF2-40B4-BE49-F238E27FC236}">
                <a16:creationId xmlns:a16="http://schemas.microsoft.com/office/drawing/2014/main" id="{C7A23CE7-AF5A-4245-A417-6A94DA58E485}"/>
              </a:ext>
            </a:extLst>
          </p:cNvPr>
          <p:cNvSpPr>
            <a:spLocks noGrp="1"/>
          </p:cNvSpPr>
          <p:nvPr>
            <p:ph type="sldNum" sz="quarter" idx="28"/>
            <p:custDataLst>
              <p:tags r:id="rId9"/>
            </p:custDataLst>
          </p:nvPr>
        </p:nvSpPr>
        <p:spPr/>
        <p:txBody>
          <a:bodyPr/>
          <a:lstStyle/>
          <a:p>
            <a:r>
              <a:rPr lang="en-US"/>
              <a:t> </a:t>
            </a:r>
          </a:p>
        </p:txBody>
      </p:sp>
      <p:sp>
        <p:nvSpPr>
          <p:cNvPr id="19" name="MIO_Placeholder_Mapping" hidden="1">
            <a:extLst>
              <a:ext uri="{FF2B5EF4-FFF2-40B4-BE49-F238E27FC236}">
                <a16:creationId xmlns:a16="http://schemas.microsoft.com/office/drawing/2014/main" id="{E3241B79-27A8-4873-89EC-D6F0564709E7}"/>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11" name="empower_footer_placeholder">
            <a:extLst>
              <a:ext uri="{FF2B5EF4-FFF2-40B4-BE49-F238E27FC236}">
                <a16:creationId xmlns:a16="http://schemas.microsoft.com/office/drawing/2014/main" id="{1A9A6E60-851B-5726-1EA1-142B51912DA4}"/>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15" name="empower_classification_placeholder">
            <a:extLst>
              <a:ext uri="{FF2B5EF4-FFF2-40B4-BE49-F238E27FC236}">
                <a16:creationId xmlns:a16="http://schemas.microsoft.com/office/drawing/2014/main" id="{60AB92AE-BBC7-A9FE-2207-84BBC6C73C16}"/>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21" name="empower_date_placeholder">
            <a:extLst>
              <a:ext uri="{FF2B5EF4-FFF2-40B4-BE49-F238E27FC236}">
                <a16:creationId xmlns:a16="http://schemas.microsoft.com/office/drawing/2014/main" id="{E58C467F-2EFE-FA04-E77C-5253B19920D3}"/>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1661">
          <p15:clr>
            <a:srgbClr val="FBAE40"/>
          </p15:clr>
        </p15:guide>
        <p15:guide id="3" orient="horz" pos="1752">
          <p15:clr>
            <a:srgbClr val="FBAE40"/>
          </p15:clr>
        </p15:guide>
        <p15:guide id="4" orient="horz" pos="4020">
          <p15:clr>
            <a:srgbClr val="FBAE40"/>
          </p15:clr>
        </p15:guide>
        <p15:guide id="5" pos="1980">
          <p15:clr>
            <a:srgbClr val="FBAE40"/>
          </p15:clr>
        </p15:guide>
        <p15:guide id="6" pos="211">
          <p15:clr>
            <a:srgbClr val="FBAE40"/>
          </p15:clr>
        </p15:guide>
        <p15:guide id="7" pos="2094">
          <p15:clr>
            <a:srgbClr val="FBAE40"/>
          </p15:clr>
        </p15:guide>
        <p15:guide id="8" pos="3772">
          <p15:clr>
            <a:srgbClr val="FBAE40"/>
          </p15:clr>
        </p15:guide>
        <p15:guide id="9" pos="3908">
          <p15:clr>
            <a:srgbClr val="FBAE40"/>
          </p15:clr>
        </p15:guide>
        <p15:guide id="10" pos="5586">
          <p15:clr>
            <a:srgbClr val="FBAE40"/>
          </p15:clr>
        </p15:guide>
        <p15:guide id="11" pos="5700">
          <p15:clr>
            <a:srgbClr val="FBAE40"/>
          </p15:clr>
        </p15:guide>
        <p15:guide id="12" pos="746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empower_additionalText_placeholder" hidden="1">
            <a:extLst>
              <a:ext uri="{FF2B5EF4-FFF2-40B4-BE49-F238E27FC236}">
                <a16:creationId xmlns:a16="http://schemas.microsoft.com/office/drawing/2014/main" id="{8B492BE2-D2A2-481A-B24A-CDE1C12A85F8}"/>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C269EC22-FB11-4D33-A5AD-970FF7AE0E7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hidden="1">
            <a:extLst>
              <a:ext uri="{FF2B5EF4-FFF2-40B4-BE49-F238E27FC236}">
                <a16:creationId xmlns:a16="http://schemas.microsoft.com/office/drawing/2014/main" id="{4B1BF6CA-DC2D-48CD-962D-066217BE39A2}"/>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884DECEF-9719-4244-AEE1-2AEA4754457D}"/>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p>
        </p:txBody>
      </p:sp>
      <p:sp>
        <p:nvSpPr>
          <p:cNvPr id="18" name="empower_classification_attention_placeholder" hidden="1">
            <a:extLst>
              <a:ext uri="{FF2B5EF4-FFF2-40B4-BE49-F238E27FC236}">
                <a16:creationId xmlns:a16="http://schemas.microsoft.com/office/drawing/2014/main" id="{8BB80B65-0382-459F-AC7F-F3D707F65045}"/>
              </a:ext>
            </a:extLst>
          </p:cNvPr>
          <p:cNvSpPr txBox="1"/>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7" name="Date Placeholder 6" hidden="1">
            <a:extLst>
              <a:ext uri="{FF2B5EF4-FFF2-40B4-BE49-F238E27FC236}">
                <a16:creationId xmlns:a16="http://schemas.microsoft.com/office/drawing/2014/main" id="{106A8C73-A6AF-4DF0-8894-BF2EC7AA230E}"/>
              </a:ext>
            </a:extLst>
          </p:cNvPr>
          <p:cNvSpPr>
            <a:spLocks noGrp="1"/>
          </p:cNvSpPr>
          <p:nvPr>
            <p:ph type="dt" sz="half" idx="10"/>
            <p:custDataLst>
              <p:tags r:id="rId6"/>
            </p:custDataLst>
          </p:nvPr>
        </p:nvSpPr>
        <p:spPr/>
        <p:txBody>
          <a:bodyPr/>
          <a:lstStyle/>
          <a:p>
            <a:endParaRPr lang="en-US" b="1"/>
          </a:p>
        </p:txBody>
      </p:sp>
      <p:sp>
        <p:nvSpPr>
          <p:cNvPr id="8" name="Footer Placeholder 7" hidden="1">
            <a:extLst>
              <a:ext uri="{FF2B5EF4-FFF2-40B4-BE49-F238E27FC236}">
                <a16:creationId xmlns:a16="http://schemas.microsoft.com/office/drawing/2014/main" id="{AB7F0ADB-6E9B-485D-93FC-12BF83F0A674}"/>
              </a:ext>
            </a:extLst>
          </p:cNvPr>
          <p:cNvSpPr>
            <a:spLocks noGrp="1"/>
          </p:cNvSpPr>
          <p:nvPr>
            <p:ph type="ftr" sz="quarter" idx="11"/>
            <p:custDataLst>
              <p:tags r:id="rId7"/>
            </p:custDataLst>
          </p:nvPr>
        </p:nvSpPr>
        <p:spPr/>
        <p:txBody>
          <a:bodyPr/>
          <a:lstStyle/>
          <a:p>
            <a:endParaRPr lang="en-US"/>
          </a:p>
        </p:txBody>
      </p:sp>
      <p:sp>
        <p:nvSpPr>
          <p:cNvPr id="9" name="Slide Number Placeholder 8" hidden="1">
            <a:extLst>
              <a:ext uri="{FF2B5EF4-FFF2-40B4-BE49-F238E27FC236}">
                <a16:creationId xmlns:a16="http://schemas.microsoft.com/office/drawing/2014/main" id="{688F703F-EAD1-4063-8445-95277BEEE9A3}"/>
              </a:ext>
            </a:extLst>
          </p:cNvPr>
          <p:cNvSpPr>
            <a:spLocks noGrp="1"/>
          </p:cNvSpPr>
          <p:nvPr>
            <p:ph type="sldNum" sz="quarter" idx="12"/>
            <p:custDataLst>
              <p:tags r:id="rId8"/>
            </p:custDataLst>
          </p:nvPr>
        </p:nvSpPr>
        <p:spPr/>
        <p:txBody>
          <a:bodyPr/>
          <a:lstStyle/>
          <a:p>
            <a:r>
              <a:rPr lang="en-US"/>
              <a:t> </a:t>
            </a:r>
          </a:p>
        </p:txBody>
      </p:sp>
      <p:sp>
        <p:nvSpPr>
          <p:cNvPr id="2" name="MIO_Placeholder_Mapping" hidden="1">
            <a:extLst>
              <a:ext uri="{FF2B5EF4-FFF2-40B4-BE49-F238E27FC236}">
                <a16:creationId xmlns:a16="http://schemas.microsoft.com/office/drawing/2014/main" id="{1AE06898-E172-4A77-BE61-DAD235E107B9}"/>
              </a:ext>
            </a:extLst>
          </p:cNvPr>
          <p:cNvSpPr/>
          <p:nvPr userDrawn="1">
            <p:custDataLst>
              <p:tags r:id="rId9"/>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3" name="empower_footer_placeholder">
            <a:extLst>
              <a:ext uri="{FF2B5EF4-FFF2-40B4-BE49-F238E27FC236}">
                <a16:creationId xmlns:a16="http://schemas.microsoft.com/office/drawing/2014/main" id="{F0CF9C2A-F696-1A31-0EB8-CA73E0B01CDD}"/>
              </a:ext>
            </a:extLst>
          </p:cNvPr>
          <p:cNvSpPr txBox="1"/>
          <p:nvPr userDrawn="1">
            <p:custDataLst>
              <p:tags r:id="rId10"/>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4" name="empower_classification_placeholder">
            <a:extLst>
              <a:ext uri="{FF2B5EF4-FFF2-40B4-BE49-F238E27FC236}">
                <a16:creationId xmlns:a16="http://schemas.microsoft.com/office/drawing/2014/main" id="{41CCC5C8-DA8D-368E-DFA0-66CBEFBD00B8}"/>
              </a:ext>
            </a:extLst>
          </p:cNvPr>
          <p:cNvSpPr txBox="1"/>
          <p:nvPr userDrawn="1">
            <p:custDataLst>
              <p:tags r:id="rId11"/>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6" name="empower_date_placeholder">
            <a:extLst>
              <a:ext uri="{FF2B5EF4-FFF2-40B4-BE49-F238E27FC236}">
                <a16:creationId xmlns:a16="http://schemas.microsoft.com/office/drawing/2014/main" id="{2822EA6A-5CF7-9A7E-3BA0-EC0D9908E9EA}"/>
              </a:ext>
            </a:extLst>
          </p:cNvPr>
          <p:cNvSpPr txBox="1"/>
          <p:nvPr userDrawn="1">
            <p:custDataLst>
              <p:tags r:id="rId12"/>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pos="7469">
          <p15:clr>
            <a:srgbClr val="FBAE40"/>
          </p15:clr>
        </p15:guide>
        <p15:guide id="2" pos="211">
          <p15:clr>
            <a:srgbClr val="FBAE40"/>
          </p15:clr>
        </p15:guide>
        <p15:guide id="3" orient="horz" pos="4020">
          <p15:clr>
            <a:srgbClr val="FBAE40"/>
          </p15:clr>
        </p15:guide>
        <p15:guide id="4" orient="horz" pos="79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Fullpic">
    <p:bg>
      <p:bgPr>
        <a:solidFill>
          <a:schemeClr val="accent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C9A3C9F-7C21-45B3-9124-006DC5D0E647}"/>
              </a:ext>
            </a:extLst>
          </p:cNvPr>
          <p:cNvSpPr>
            <a:spLocks noGrp="1"/>
          </p:cNvSpPr>
          <p:nvPr>
            <p:ph type="pic" sz="quarter" idx="12"/>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txBody>
          <a:bodyPr wrap="square" tIns="2880000">
            <a:noAutofit/>
          </a:bodyPr>
          <a:lstStyle>
            <a:lvl1pPr algn="ctr">
              <a:buNone/>
              <a:defRPr baseline="0">
                <a:solidFill>
                  <a:schemeClr val="tx1"/>
                </a:solidFill>
                <a:latin typeface="+mn-lt"/>
                <a:ea typeface="+mn-ea"/>
                <a:cs typeface="+mn-cs"/>
              </a:defRPr>
            </a:lvl1pPr>
          </a:lstStyle>
          <a:p>
            <a:r>
              <a:rPr lang="en-US" noProof="0"/>
              <a:t>Click icon to add picture</a:t>
            </a:r>
          </a:p>
        </p:txBody>
      </p:sp>
      <p:sp>
        <p:nvSpPr>
          <p:cNvPr id="3" name="MIO_AGENDA_IGNORE_NAVIGATION" hidden="1">
            <a:extLst>
              <a:ext uri="{FF2B5EF4-FFF2-40B4-BE49-F238E27FC236}">
                <a16:creationId xmlns:a16="http://schemas.microsoft.com/office/drawing/2014/main" id="{298E6853-722D-4D8C-A4A5-A6FCEB4A06C0}"/>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MIO_AGENDA_IGNORE_CHAPTER_REFERENCE" hidden="1">
            <a:extLst>
              <a:ext uri="{FF2B5EF4-FFF2-40B4-BE49-F238E27FC236}">
                <a16:creationId xmlns:a16="http://schemas.microsoft.com/office/drawing/2014/main" id="{4C952A04-6CCB-455C-887C-1B9A3B0ACD0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 name="Date Placeholder 1" hidden="1">
            <a:extLst>
              <a:ext uri="{FF2B5EF4-FFF2-40B4-BE49-F238E27FC236}">
                <a16:creationId xmlns:a16="http://schemas.microsoft.com/office/drawing/2014/main" id="{E7D6FAC8-11F4-4964-9B25-EE9D1E189D30}"/>
              </a:ext>
            </a:extLst>
          </p:cNvPr>
          <p:cNvSpPr>
            <a:spLocks noGrp="1"/>
          </p:cNvSpPr>
          <p:nvPr>
            <p:ph type="dt" sz="half" idx="13"/>
            <p:custDataLst>
              <p:tags r:id="rId1"/>
            </p:custDataLst>
          </p:nvPr>
        </p:nvSpPr>
        <p:spPr/>
        <p:txBody>
          <a:bodyPr/>
          <a:lstStyle/>
          <a:p>
            <a:endParaRPr lang="en-US" b="1"/>
          </a:p>
        </p:txBody>
      </p:sp>
      <p:sp>
        <p:nvSpPr>
          <p:cNvPr id="5" name="Footer Placeholder 4" hidden="1">
            <a:extLst>
              <a:ext uri="{FF2B5EF4-FFF2-40B4-BE49-F238E27FC236}">
                <a16:creationId xmlns:a16="http://schemas.microsoft.com/office/drawing/2014/main" id="{B6B82CD2-EA5C-4D03-98C1-175706CF32FC}"/>
              </a:ext>
            </a:extLst>
          </p:cNvPr>
          <p:cNvSpPr>
            <a:spLocks noGrp="1"/>
          </p:cNvSpPr>
          <p:nvPr>
            <p:ph type="ftr" sz="quarter" idx="14"/>
            <p:custDataLst>
              <p:tags r:id="rId2"/>
            </p:custDataLst>
          </p:nvPr>
        </p:nvSpPr>
        <p:spPr/>
        <p:txBody>
          <a:bodyPr/>
          <a:lstStyle/>
          <a:p>
            <a:endParaRPr lang="en-US"/>
          </a:p>
        </p:txBody>
      </p:sp>
      <p:sp>
        <p:nvSpPr>
          <p:cNvPr id="6" name="Slide Number Placeholder 5" hidden="1">
            <a:extLst>
              <a:ext uri="{FF2B5EF4-FFF2-40B4-BE49-F238E27FC236}">
                <a16:creationId xmlns:a16="http://schemas.microsoft.com/office/drawing/2014/main" id="{6C4E2716-EC8F-40FC-B4F8-3418FB160B39}"/>
              </a:ext>
            </a:extLst>
          </p:cNvPr>
          <p:cNvSpPr>
            <a:spLocks noGrp="1"/>
          </p:cNvSpPr>
          <p:nvPr>
            <p:ph type="sldNum" sz="quarter" idx="15"/>
            <p:custDataLst>
              <p:tags r:id="rId3"/>
            </p:custDataLst>
          </p:nvPr>
        </p:nvSpPr>
        <p:spPr/>
        <p:txBody>
          <a:bodyPr/>
          <a:lstStyle/>
          <a:p>
            <a:r>
              <a:rPr lang="en-US"/>
              <a:t> </a:t>
            </a:r>
          </a:p>
        </p:txBody>
      </p:sp>
      <p:sp>
        <p:nvSpPr>
          <p:cNvPr id="7" name="MIO_Placeholder_Mapping" hidden="1">
            <a:extLst>
              <a:ext uri="{FF2B5EF4-FFF2-40B4-BE49-F238E27FC236}">
                <a16:creationId xmlns:a16="http://schemas.microsoft.com/office/drawing/2014/main" id="{162DC542-CA6E-49F2-AE52-133D584ED71B}"/>
              </a:ext>
            </a:extLst>
          </p:cNvPr>
          <p:cNvSpPr/>
          <p:nvPr userDrawn="1">
            <p:custDataLst>
              <p:tags r:id="rId4"/>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Tree>
    <p:extLst>
      <p:ext uri="{BB962C8B-B14F-4D97-AF65-F5344CB8AC3E}">
        <p14:creationId xmlns:p14="http://schemas.microsoft.com/office/powerpoint/2010/main" val="3943257007"/>
      </p:ext>
    </p:extLst>
  </p:cSld>
  <p:clrMapOvr>
    <a:masterClrMapping/>
  </p:clrMapOvr>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nal">
    <p:spTree>
      <p:nvGrpSpPr>
        <p:cNvPr id="1" name=""/>
        <p:cNvGrpSpPr/>
        <p:nvPr/>
      </p:nvGrpSpPr>
      <p:grpSpPr>
        <a:xfrm>
          <a:off x="0" y="0"/>
          <a:ext cx="0" cy="0"/>
          <a:chOff x="0" y="0"/>
          <a:chExt cx="0" cy="0"/>
        </a:xfrm>
      </p:grpSpPr>
      <p:sp>
        <p:nvSpPr>
          <p:cNvPr id="7" name="LOGO PROTECTION" hidden="1">
            <a:extLst>
              <a:ext uri="{FF2B5EF4-FFF2-40B4-BE49-F238E27FC236}">
                <a16:creationId xmlns:a16="http://schemas.microsoft.com/office/drawing/2014/main" id="{8182E335-5A52-4E3C-BCEC-9507D81BA511}"/>
              </a:ext>
            </a:extLst>
          </p:cNvPr>
          <p:cNvSpPr/>
          <p:nvPr>
            <p:custDataLst>
              <p:tags r:id="rId1"/>
            </p:custDataLst>
          </p:nvPr>
        </p:nvSpPr>
        <p:spPr bwMode="auto">
          <a:xfrm>
            <a:off x="2927650" y="1920766"/>
            <a:ext cx="6336702" cy="3088476"/>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6" name="MIO_AGENDA_LAST_SLIDE" hidden="1">
            <a:extLst>
              <a:ext uri="{FF2B5EF4-FFF2-40B4-BE49-F238E27FC236}">
                <a16:creationId xmlns:a16="http://schemas.microsoft.com/office/drawing/2014/main" id="{45591D6F-6D52-44E5-B3AA-2575CCD4520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2" name="MIO_AGENDA_IGNORE_NAVIGATION" hidden="1">
            <a:extLst>
              <a:ext uri="{FF2B5EF4-FFF2-40B4-BE49-F238E27FC236}">
                <a16:creationId xmlns:a16="http://schemas.microsoft.com/office/drawing/2014/main" id="{C7038F66-C11F-4566-ADAF-A099AF95755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3" name="MIO_AGENDA_IGNORE_CHAPTER_REFERENCE" hidden="1">
            <a:extLst>
              <a:ext uri="{FF2B5EF4-FFF2-40B4-BE49-F238E27FC236}">
                <a16:creationId xmlns:a16="http://schemas.microsoft.com/office/drawing/2014/main" id="{E0318986-8EA2-446A-AFF2-E8441C3AF8A6}"/>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8" name="Date Placeholder 7" hidden="1">
            <a:extLst>
              <a:ext uri="{FF2B5EF4-FFF2-40B4-BE49-F238E27FC236}">
                <a16:creationId xmlns:a16="http://schemas.microsoft.com/office/drawing/2014/main" id="{087EFA22-3F6E-4210-A8FC-0864CD1DE4EF}"/>
              </a:ext>
            </a:extLst>
          </p:cNvPr>
          <p:cNvSpPr>
            <a:spLocks noGrp="1"/>
          </p:cNvSpPr>
          <p:nvPr>
            <p:ph type="dt" sz="half" idx="10"/>
            <p:custDataLst>
              <p:tags r:id="rId2"/>
            </p:custDataLst>
          </p:nvPr>
        </p:nvSpPr>
        <p:spPr/>
        <p:txBody>
          <a:bodyPr/>
          <a:lstStyle/>
          <a:p>
            <a:endParaRPr lang="en-US" b="1"/>
          </a:p>
        </p:txBody>
      </p:sp>
      <p:sp>
        <p:nvSpPr>
          <p:cNvPr id="14" name="Footer Placeholder 13" hidden="1">
            <a:extLst>
              <a:ext uri="{FF2B5EF4-FFF2-40B4-BE49-F238E27FC236}">
                <a16:creationId xmlns:a16="http://schemas.microsoft.com/office/drawing/2014/main" id="{BDF262C8-30D5-474A-BD81-CA14ACCE51B5}"/>
              </a:ext>
            </a:extLst>
          </p:cNvPr>
          <p:cNvSpPr>
            <a:spLocks noGrp="1"/>
          </p:cNvSpPr>
          <p:nvPr>
            <p:ph type="ftr" sz="quarter" idx="11"/>
            <p:custDataLst>
              <p:tags r:id="rId3"/>
            </p:custDataLst>
          </p:nvPr>
        </p:nvSpPr>
        <p:spPr/>
        <p:txBody>
          <a:bodyPr/>
          <a:lstStyle/>
          <a:p>
            <a:endParaRPr lang="en-US"/>
          </a:p>
        </p:txBody>
      </p:sp>
      <p:sp>
        <p:nvSpPr>
          <p:cNvPr id="15" name="Slide Number Placeholder 14" hidden="1">
            <a:extLst>
              <a:ext uri="{FF2B5EF4-FFF2-40B4-BE49-F238E27FC236}">
                <a16:creationId xmlns:a16="http://schemas.microsoft.com/office/drawing/2014/main" id="{3F1C5DF9-A781-4661-8C3B-816A398ADFDD}"/>
              </a:ext>
            </a:extLst>
          </p:cNvPr>
          <p:cNvSpPr>
            <a:spLocks noGrp="1"/>
          </p:cNvSpPr>
          <p:nvPr>
            <p:ph type="sldNum" sz="quarter" idx="12"/>
            <p:custDataLst>
              <p:tags r:id="rId4"/>
            </p:custDataLst>
          </p:nvPr>
        </p:nvSpPr>
        <p:spPr/>
        <p:txBody>
          <a:bodyPr/>
          <a:lstStyle/>
          <a:p>
            <a:r>
              <a:rPr lang="en-US"/>
              <a:t> </a:t>
            </a:r>
          </a:p>
        </p:txBody>
      </p:sp>
      <p:sp>
        <p:nvSpPr>
          <p:cNvPr id="2" name="MIO_Placeholder_Mapping" hidden="1">
            <a:extLst>
              <a:ext uri="{FF2B5EF4-FFF2-40B4-BE49-F238E27FC236}">
                <a16:creationId xmlns:a16="http://schemas.microsoft.com/office/drawing/2014/main" id="{77B07280-C452-41A8-A8A7-B816EB9C3C9E}"/>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23" name="Rectangle 22">
            <a:extLst>
              <a:ext uri="{FF2B5EF4-FFF2-40B4-BE49-F238E27FC236}">
                <a16:creationId xmlns:a16="http://schemas.microsoft.com/office/drawing/2014/main" id="{2B85AA65-668F-A760-0BF5-086383CCE0F2}"/>
              </a:ext>
            </a:extLst>
          </p:cNvPr>
          <p:cNvSpPr/>
          <p:nvPr userDrawn="1"/>
        </p:nvSpPr>
        <p:spPr bwMode="auto">
          <a:xfrm>
            <a:off x="0" y="0"/>
            <a:ext cx="12192000" cy="685800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a:solidFill>
                <a:schemeClr val="bg1"/>
              </a:solidFill>
              <a:latin typeface="+mn-lt"/>
              <a:ea typeface="+mn-ea"/>
              <a:cs typeface="+mn-cs"/>
            </a:endParaRPr>
          </a:p>
        </p:txBody>
      </p:sp>
      <p:pic>
        <p:nvPicPr>
          <p:cNvPr id="24" name="LOGO">
            <a:extLst>
              <a:ext uri="{FF2B5EF4-FFF2-40B4-BE49-F238E27FC236}">
                <a16:creationId xmlns:a16="http://schemas.microsoft.com/office/drawing/2014/main" id="{DF98B2F7-BEAF-17E3-0C2E-7C9AB8F8F64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2757977" y="2446419"/>
            <a:ext cx="6676045" cy="1965162"/>
          </a:xfrm>
          <a:prstGeom prst="rect">
            <a:avLst/>
          </a:prstGeom>
        </p:spPr>
      </p:pic>
    </p:spTree>
    <p:extLst>
      <p:ext uri="{BB962C8B-B14F-4D97-AF65-F5344CB8AC3E}">
        <p14:creationId xmlns:p14="http://schemas.microsoft.com/office/powerpoint/2010/main" val="197727015"/>
      </p:ext>
    </p:extLst>
  </p:cSld>
  <p:clrMapOvr>
    <a:masterClrMapping/>
  </p:clrMapOvr>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2">
    <p:bg>
      <p:bgPr>
        <a:solidFill>
          <a:schemeClr val="tx2"/>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501C1CF0-6452-4D4E-9BC7-65EADBD5EEC4}"/>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Background White">
            <a:extLst>
              <a:ext uri="{FF2B5EF4-FFF2-40B4-BE49-F238E27FC236}">
                <a16:creationId xmlns:a16="http://schemas.microsoft.com/office/drawing/2014/main" id="{FBA286CB-2DB7-49EA-ABB9-E63BB6315EDB}"/>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35" name="Subtitle"/>
          <p:cNvSpPr>
            <a:spLocks noGrp="1"/>
          </p:cNvSpPr>
          <p:nvPr>
            <p:ph type="subTitle" idx="1" hasCustomPrompt="1"/>
          </p:nvPr>
        </p:nvSpPr>
        <p:spPr>
          <a:xfrm>
            <a:off x="5808608" y="3790101"/>
            <a:ext cx="576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a:t>Author (department)</a:t>
            </a:r>
            <a:br>
              <a:rPr lang="en-US" noProof="0"/>
            </a:br>
            <a:r>
              <a:rPr lang="en-US" noProof="0"/>
              <a:t>Date</a:t>
            </a:r>
          </a:p>
        </p:txBody>
      </p:sp>
      <p:sp>
        <p:nvSpPr>
          <p:cNvPr id="15" name="Title">
            <a:extLst>
              <a:ext uri="{FF2B5EF4-FFF2-40B4-BE49-F238E27FC236}">
                <a16:creationId xmlns:a16="http://schemas.microsoft.com/office/drawing/2014/main" id="{0926292C-4FD6-404F-8149-3EB0B4DF87BE}"/>
              </a:ext>
            </a:extLst>
          </p:cNvPr>
          <p:cNvSpPr>
            <a:spLocks noGrp="1"/>
          </p:cNvSpPr>
          <p:nvPr>
            <p:ph type="title" hasCustomPrompt="1"/>
            <p:custDataLst>
              <p:tags r:id="rId2"/>
            </p:custDataLst>
          </p:nvPr>
        </p:nvSpPr>
        <p:spPr>
          <a:xfrm>
            <a:off x="5808608" y="1757203"/>
            <a:ext cx="5760000" cy="1672899"/>
          </a:xfrm>
        </p:spPr>
        <p:txBody>
          <a:bodyPr bIns="0" anchor="b">
            <a:normAutofit/>
          </a:bodyPr>
          <a:lstStyle>
            <a:lvl1pPr algn="l">
              <a:defRPr sz="3600" baseline="0">
                <a:latin typeface="+mj-lt"/>
                <a:ea typeface="+mj-ea"/>
                <a:cs typeface="+mj-cs"/>
              </a:defRPr>
            </a:lvl1pPr>
          </a:lstStyle>
          <a:p>
            <a:r>
              <a:rPr lang="en-US" noProof="0"/>
              <a:t>Please type in title</a:t>
            </a:r>
          </a:p>
        </p:txBody>
      </p:sp>
      <p:sp>
        <p:nvSpPr>
          <p:cNvPr id="8" name="empower_classification_attention_placeholder" hidden="1">
            <a:extLst>
              <a:ext uri="{FF2B5EF4-FFF2-40B4-BE49-F238E27FC236}">
                <a16:creationId xmlns:a16="http://schemas.microsoft.com/office/drawing/2014/main" id="{275E4ACD-2699-4EB4-B72E-2EBE63C205D6}"/>
              </a:ext>
            </a:extLst>
          </p:cNvPr>
          <p:cNvSpPr txBox="1"/>
          <p:nvPr>
            <p:custDataLst>
              <p:tags r:id="rId3"/>
            </p:custDataLst>
          </p:nvPr>
        </p:nvSpPr>
        <p:spPr bwMode="auto">
          <a:xfrm>
            <a:off x="5808608"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8A1DAB4F-0FA1-4116-AD11-2FAD7B4CA74A}"/>
              </a:ext>
            </a:extLst>
          </p:cNvPr>
          <p:cNvSpPr txBox="1"/>
          <p:nvPr>
            <p:custDataLst>
              <p:tags r:id="rId4"/>
            </p:custDataLst>
          </p:nvPr>
        </p:nvSpPr>
        <p:spPr bwMode="auto">
          <a:xfrm>
            <a:off x="8328521"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algn="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p>
        </p:txBody>
      </p:sp>
      <p:sp>
        <p:nvSpPr>
          <p:cNvPr id="19" name="empower_draft_placeholder" hidden="1">
            <a:extLst>
              <a:ext uri="{FF2B5EF4-FFF2-40B4-BE49-F238E27FC236}">
                <a16:creationId xmlns:a16="http://schemas.microsoft.com/office/drawing/2014/main" id="{6199DA7C-0CA0-4D66-B211-C7E7EAED8246}"/>
              </a:ext>
            </a:extLst>
          </p:cNvPr>
          <p:cNvSpPr txBox="1"/>
          <p:nvPr userDrawn="1">
            <p:custDataLst>
              <p:tags r:id="rId5"/>
            </p:custDataLst>
          </p:nvPr>
        </p:nvSpPr>
        <p:spPr bwMode="auto">
          <a:xfrm>
            <a:off x="7464565"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p>
        </p:txBody>
      </p:sp>
      <p:sp>
        <p:nvSpPr>
          <p:cNvPr id="6" name="MIO_AGENDA_IGNORE_NAVIGATION" hidden="1">
            <a:extLst>
              <a:ext uri="{FF2B5EF4-FFF2-40B4-BE49-F238E27FC236}">
                <a16:creationId xmlns:a16="http://schemas.microsoft.com/office/drawing/2014/main" id="{77B7EDDE-B2BF-41DF-B12E-29C55B064D28}"/>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6" name="MIO_AGENDA_IGNORE_CHAPTER_REFERENCE" hidden="1">
            <a:extLst>
              <a:ext uri="{FF2B5EF4-FFF2-40B4-BE49-F238E27FC236}">
                <a16:creationId xmlns:a16="http://schemas.microsoft.com/office/drawing/2014/main" id="{77CD087C-DFE1-43D5-AF8C-29BB0B90F67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8A2B950C-C584-4156-BAA9-284D4A5BB0F4}"/>
              </a:ext>
            </a:extLst>
          </p:cNvPr>
          <p:cNvSpPr>
            <a:spLocks noGrp="1"/>
          </p:cNvSpPr>
          <p:nvPr>
            <p:ph type="dt" sz="half" idx="19"/>
            <p:custDataLst>
              <p:tags r:id="rId6"/>
            </p:custDataLst>
          </p:nvPr>
        </p:nvSpPr>
        <p:spPr/>
        <p:txBody>
          <a:bodyPr/>
          <a:lstStyle/>
          <a:p>
            <a:endParaRPr lang="en-US" b="1"/>
          </a:p>
        </p:txBody>
      </p:sp>
      <p:sp>
        <p:nvSpPr>
          <p:cNvPr id="17" name="Footer Placeholder 16" hidden="1">
            <a:extLst>
              <a:ext uri="{FF2B5EF4-FFF2-40B4-BE49-F238E27FC236}">
                <a16:creationId xmlns:a16="http://schemas.microsoft.com/office/drawing/2014/main" id="{05BA39DF-1C65-465A-9ECA-C35A3F0705E9}"/>
              </a:ext>
            </a:extLst>
          </p:cNvPr>
          <p:cNvSpPr>
            <a:spLocks noGrp="1"/>
          </p:cNvSpPr>
          <p:nvPr>
            <p:ph type="ftr" sz="quarter" idx="20"/>
            <p:custDataLst>
              <p:tags r:id="rId7"/>
            </p:custDataLst>
          </p:nvPr>
        </p:nvSpPr>
        <p:spPr/>
        <p:txBody>
          <a:bodyPr/>
          <a:lstStyle/>
          <a:p>
            <a:endParaRPr lang="en-US"/>
          </a:p>
        </p:txBody>
      </p:sp>
      <p:sp>
        <p:nvSpPr>
          <p:cNvPr id="18" name="Slide Number Placeholder 17" hidden="1">
            <a:extLst>
              <a:ext uri="{FF2B5EF4-FFF2-40B4-BE49-F238E27FC236}">
                <a16:creationId xmlns:a16="http://schemas.microsoft.com/office/drawing/2014/main" id="{237973C6-0D90-4AEE-BB6E-AE4A8B5BA26B}"/>
              </a:ext>
            </a:extLst>
          </p:cNvPr>
          <p:cNvSpPr>
            <a:spLocks noGrp="1"/>
          </p:cNvSpPr>
          <p:nvPr>
            <p:ph type="sldNum" sz="quarter" idx="21"/>
            <p:custDataLst>
              <p:tags r:id="rId8"/>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D727B4D6-DF5E-49B7-A837-D207551F221D}"/>
              </a:ext>
            </a:extLst>
          </p:cNvPr>
          <p:cNvSpPr/>
          <p:nvPr userDrawn="1"/>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pic>
        <p:nvPicPr>
          <p:cNvPr id="2" name="LOGO">
            <a:extLst>
              <a:ext uri="{FF2B5EF4-FFF2-40B4-BE49-F238E27FC236}">
                <a16:creationId xmlns:a16="http://schemas.microsoft.com/office/drawing/2014/main" id="{C2AAC32F-0B7D-23A2-5C0D-7F4099862102}"/>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p:blipFill>
        <p:spPr>
          <a:xfrm>
            <a:off x="9336360" y="5517231"/>
            <a:ext cx="2502783" cy="736719"/>
          </a:xfrm>
          <a:prstGeom prst="rect">
            <a:avLst/>
          </a:prstGeom>
        </p:spPr>
      </p:pic>
      <p:sp>
        <p:nvSpPr>
          <p:cNvPr id="4" name="Crystal Shape">
            <a:extLst>
              <a:ext uri="{FF2B5EF4-FFF2-40B4-BE49-F238E27FC236}">
                <a16:creationId xmlns:a16="http://schemas.microsoft.com/office/drawing/2014/main" id="{F78FA4EE-1DD5-7407-0262-DA3A3C9AFF45}"/>
              </a:ext>
            </a:extLst>
          </p:cNvPr>
          <p:cNvSpPr/>
          <p:nvPr userDrawn="1"/>
        </p:nvSpPr>
        <p:spPr>
          <a:xfrm rot="16200000" flipH="1" flipV="1">
            <a:off x="-813049" y="813049"/>
            <a:ext cx="6857999" cy="5231904"/>
          </a:xfrm>
          <a:custGeom>
            <a:avLst/>
            <a:gdLst>
              <a:gd name="connsiteX0" fmla="*/ 6857999 w 6857999"/>
              <a:gd name="connsiteY0" fmla="*/ 1129077 h 3793483"/>
              <a:gd name="connsiteX1" fmla="*/ 6857999 w 6857999"/>
              <a:gd name="connsiteY1" fmla="*/ 3792536 h 3793483"/>
              <a:gd name="connsiteX2" fmla="*/ 0 w 6857999"/>
              <a:gd name="connsiteY2" fmla="*/ 3793483 h 3793483"/>
              <a:gd name="connsiteX3" fmla="*/ 0 w 6857999"/>
              <a:gd name="connsiteY3" fmla="*/ 729579 h 3793483"/>
              <a:gd name="connsiteX4" fmla="*/ 1748945 w 6857999"/>
              <a:gd name="connsiteY4" fmla="*/ 0 h 3793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99" h="3793483">
                <a:moveTo>
                  <a:pt x="6857999" y="1129077"/>
                </a:moveTo>
                <a:lnTo>
                  <a:pt x="6857999" y="3792536"/>
                </a:lnTo>
                <a:lnTo>
                  <a:pt x="0" y="3793483"/>
                </a:lnTo>
                <a:lnTo>
                  <a:pt x="0" y="729579"/>
                </a:lnTo>
                <a:lnTo>
                  <a:pt x="1748945" y="0"/>
                </a:lnTo>
                <a:close/>
              </a:path>
            </a:pathLst>
          </a:custGeom>
          <a:solidFill>
            <a:srgbClr val="7390A6"/>
          </a:solidFill>
          <a:ln w="11542" cap="flat">
            <a:noFill/>
            <a:prstDash val="solid"/>
            <a:miter/>
          </a:ln>
        </p:spPr>
        <p:txBody>
          <a:bodyPr wrap="square" rtlCol="0" anchor="ctr">
            <a:noAutofit/>
          </a:bodyPr>
          <a:lstStyle/>
          <a:p>
            <a:endParaRPr lang="de-DE"/>
          </a:p>
        </p:txBody>
      </p:sp>
    </p:spTree>
    <p:extLst>
      <p:ext uri="{BB962C8B-B14F-4D97-AF65-F5344CB8AC3E}">
        <p14:creationId xmlns:p14="http://schemas.microsoft.com/office/powerpoint/2010/main" val="4192423285"/>
      </p:ext>
    </p:extLst>
  </p:cSld>
  <p:clrMapOvr>
    <a:masterClrMapping/>
  </p:clrMapOvr>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3">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D04A951B-0B3C-4A20-86D2-B3C8F8FB9563}"/>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Background White">
            <a:extLst>
              <a:ext uri="{FF2B5EF4-FFF2-40B4-BE49-F238E27FC236}">
                <a16:creationId xmlns:a16="http://schemas.microsoft.com/office/drawing/2014/main" id="{1FBC75BD-957B-1EC7-B3A9-8C67FC480706}"/>
              </a:ext>
            </a:extLst>
          </p:cNvPr>
          <p:cNvSpPr/>
          <p:nvPr userDrawn="1"/>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rtl="0" eaLnBrk="0" hangingPunct="0"/>
            <a:endParaRPr lang="en-US" sz="2133" baseline="0" noProof="0">
              <a:latin typeface="+mn-lt"/>
              <a:ea typeface="+mn-ea"/>
              <a:cs typeface="+mn-cs"/>
            </a:endParaRPr>
          </a:p>
        </p:txBody>
      </p:sp>
      <p:sp>
        <p:nvSpPr>
          <p:cNvPr id="3" name="Crystal Shape">
            <a:extLst>
              <a:ext uri="{FF2B5EF4-FFF2-40B4-BE49-F238E27FC236}">
                <a16:creationId xmlns:a16="http://schemas.microsoft.com/office/drawing/2014/main" id="{2EA7ACC0-9174-0F6F-0B3E-9FE773D0A408}"/>
              </a:ext>
            </a:extLst>
          </p:cNvPr>
          <p:cNvSpPr/>
          <p:nvPr userDrawn="1"/>
        </p:nvSpPr>
        <p:spPr bwMode="auto">
          <a:xfrm>
            <a:off x="2" y="1"/>
            <a:ext cx="12191999" cy="3932241"/>
          </a:xfrm>
          <a:custGeom>
            <a:avLst/>
            <a:gdLst>
              <a:gd name="connsiteX0" fmla="*/ 0 w 12191999"/>
              <a:gd name="connsiteY0" fmla="*/ 0 h 3932241"/>
              <a:gd name="connsiteX1" fmla="*/ 12191999 w 12191999"/>
              <a:gd name="connsiteY1" fmla="*/ 0 h 3932241"/>
              <a:gd name="connsiteX2" fmla="*/ 12191999 w 12191999"/>
              <a:gd name="connsiteY2" fmla="*/ 3726156 h 3932241"/>
              <a:gd name="connsiteX3" fmla="*/ 3063660 w 12191999"/>
              <a:gd name="connsiteY3" fmla="*/ 2179105 h 3932241"/>
              <a:gd name="connsiteX4" fmla="*/ 387 w 12191999"/>
              <a:gd name="connsiteY4" fmla="*/ 3726157 h 3932241"/>
              <a:gd name="connsiteX5" fmla="*/ 387 w 12191999"/>
              <a:gd name="connsiteY5" fmla="*/ 3932241 h 3932241"/>
              <a:gd name="connsiteX6" fmla="*/ 0 w 12191999"/>
              <a:gd name="connsiteY6" fmla="*/ 3932241 h 393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932241">
                <a:moveTo>
                  <a:pt x="0" y="0"/>
                </a:moveTo>
                <a:lnTo>
                  <a:pt x="12191999" y="0"/>
                </a:lnTo>
                <a:lnTo>
                  <a:pt x="12191999" y="3726156"/>
                </a:lnTo>
                <a:lnTo>
                  <a:pt x="3063660" y="2179105"/>
                </a:lnTo>
                <a:lnTo>
                  <a:pt x="387" y="3726157"/>
                </a:lnTo>
                <a:lnTo>
                  <a:pt x="387" y="3932241"/>
                </a:lnTo>
                <a:lnTo>
                  <a:pt x="0" y="3932241"/>
                </a:lnTo>
                <a:close/>
              </a:path>
            </a:pathLst>
          </a:custGeom>
          <a:solidFill>
            <a:srgbClr val="7390A6"/>
          </a:solidFill>
          <a:ln w="9525">
            <a:noFill/>
            <a:miter lim="800000"/>
            <a:headEnd/>
            <a:tailEnd/>
          </a:ln>
        </p:spPr>
        <p:txBody>
          <a:bodyPr wrap="square" lIns="72000" tIns="72000" rIns="72000" bIns="72000" rtlCol="0" anchor="ctr">
            <a:noAutofit/>
          </a:bodyPr>
          <a:lstStyle/>
          <a:p>
            <a:pPr algn="ctr" defTabSz="576000" rtl="0" eaLnBrk="0" hangingPunct="0">
              <a:lnSpc>
                <a:spcPct val="120000"/>
              </a:lnSpc>
            </a:pPr>
            <a:endParaRPr lang="de-DE" sz="1600" baseline="0">
              <a:solidFill>
                <a:schemeClr val="bg1"/>
              </a:solidFill>
              <a:latin typeface="+mn-lt"/>
              <a:ea typeface="+mn-ea"/>
              <a:cs typeface="+mn-cs"/>
            </a:endParaRPr>
          </a:p>
        </p:txBody>
      </p:sp>
      <p:sp>
        <p:nvSpPr>
          <p:cNvPr id="36" name="Subtitle"/>
          <p:cNvSpPr>
            <a:spLocks noGrp="1"/>
          </p:cNvSpPr>
          <p:nvPr>
            <p:ph type="subTitle" idx="1" hasCustomPrompt="1"/>
          </p:nvPr>
        </p:nvSpPr>
        <p:spPr>
          <a:xfrm>
            <a:off x="624000" y="5641200"/>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a:t>Author (department)</a:t>
            </a:r>
            <a:br>
              <a:rPr lang="en-US" noProof="0"/>
            </a:br>
            <a:r>
              <a:rPr lang="en-US" noProof="0"/>
              <a:t>Date</a:t>
            </a:r>
          </a:p>
        </p:txBody>
      </p:sp>
      <p:sp>
        <p:nvSpPr>
          <p:cNvPr id="16" name="Title">
            <a:extLst>
              <a:ext uri="{FF2B5EF4-FFF2-40B4-BE49-F238E27FC236}">
                <a16:creationId xmlns:a16="http://schemas.microsoft.com/office/drawing/2014/main" id="{DDFB9099-E080-4657-A124-1583A7385081}"/>
              </a:ext>
            </a:extLst>
          </p:cNvPr>
          <p:cNvSpPr>
            <a:spLocks noGrp="1"/>
          </p:cNvSpPr>
          <p:nvPr>
            <p:ph type="title" hasCustomPrompt="1"/>
            <p:custDataLst>
              <p:tags r:id="rId2"/>
            </p:custDataLst>
          </p:nvPr>
        </p:nvSpPr>
        <p:spPr>
          <a:xfrm>
            <a:off x="624001" y="4161599"/>
            <a:ext cx="8280000" cy="1119600"/>
          </a:xfrm>
        </p:spPr>
        <p:txBody>
          <a:bodyPr bIns="0" anchor="b">
            <a:normAutofit/>
          </a:bodyPr>
          <a:lstStyle>
            <a:lvl1pPr algn="l">
              <a:defRPr sz="3600" baseline="0">
                <a:latin typeface="+mj-lt"/>
                <a:ea typeface="+mj-ea"/>
                <a:cs typeface="+mj-cs"/>
              </a:defRPr>
            </a:lvl1pPr>
          </a:lstStyle>
          <a:p>
            <a:r>
              <a:rPr lang="en-US" noProof="0"/>
              <a:t>Please type in title</a:t>
            </a:r>
          </a:p>
        </p:txBody>
      </p:sp>
      <p:sp>
        <p:nvSpPr>
          <p:cNvPr id="8" name="empower_classification_attention_placeholder" hidden="1">
            <a:extLst>
              <a:ext uri="{FF2B5EF4-FFF2-40B4-BE49-F238E27FC236}">
                <a16:creationId xmlns:a16="http://schemas.microsoft.com/office/drawing/2014/main" id="{597455C0-1C86-4D66-BC01-C39FC0636301}"/>
              </a:ext>
            </a:extLst>
          </p:cNvPr>
          <p:cNvSpPr txBox="1"/>
          <p:nvPr>
            <p:custDataLst>
              <p:tags r:id="rId3"/>
            </p:custDataLst>
          </p:nvPr>
        </p:nvSpPr>
        <p:spPr bwMode="auto">
          <a:xfrm>
            <a:off x="5411800"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96E39437-30C8-4D2C-BDE0-D743E3FA80DD}"/>
              </a:ext>
            </a:extLst>
          </p:cNvPr>
          <p:cNvSpPr txBox="1"/>
          <p:nvPr>
            <p:custDataLst>
              <p:tags r:id="rId4"/>
            </p:custDataLst>
          </p:nvPr>
        </p:nvSpPr>
        <p:spPr bwMode="auto">
          <a:xfrm>
            <a:off x="624000"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p>
        </p:txBody>
      </p:sp>
      <p:sp>
        <p:nvSpPr>
          <p:cNvPr id="19" name="empower_draft_placeholder" hidden="1">
            <a:extLst>
              <a:ext uri="{FF2B5EF4-FFF2-40B4-BE49-F238E27FC236}">
                <a16:creationId xmlns:a16="http://schemas.microsoft.com/office/drawing/2014/main" id="{4B8FCDCD-762A-43C6-901A-F85ED8B716CE}"/>
              </a:ext>
            </a:extLst>
          </p:cNvPr>
          <p:cNvSpPr txBox="1"/>
          <p:nvPr userDrawn="1">
            <p:custDataLst>
              <p:tags r:id="rId5"/>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p>
        </p:txBody>
      </p:sp>
      <p:sp>
        <p:nvSpPr>
          <p:cNvPr id="6" name="MIO_AGENDA_IGNORE_NAVIGATION" hidden="1">
            <a:extLst>
              <a:ext uri="{FF2B5EF4-FFF2-40B4-BE49-F238E27FC236}">
                <a16:creationId xmlns:a16="http://schemas.microsoft.com/office/drawing/2014/main" id="{E1EDD075-E4C7-4D42-B9EA-266CAA36278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CHAPTER_REFERENCE" hidden="1">
            <a:extLst>
              <a:ext uri="{FF2B5EF4-FFF2-40B4-BE49-F238E27FC236}">
                <a16:creationId xmlns:a16="http://schemas.microsoft.com/office/drawing/2014/main" id="{69714F47-DD62-4063-BF75-AE10B75ACD2F}"/>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C4801112-C226-4D1B-8109-89A1EA6E6950}"/>
              </a:ext>
            </a:extLst>
          </p:cNvPr>
          <p:cNvSpPr>
            <a:spLocks noGrp="1"/>
          </p:cNvSpPr>
          <p:nvPr>
            <p:ph type="dt" sz="half" idx="15"/>
            <p:custDataLst>
              <p:tags r:id="rId6"/>
            </p:custDataLst>
          </p:nvPr>
        </p:nvSpPr>
        <p:spPr/>
        <p:txBody>
          <a:bodyPr/>
          <a:lstStyle/>
          <a:p>
            <a:endParaRPr lang="en-US" b="1"/>
          </a:p>
        </p:txBody>
      </p:sp>
      <p:sp>
        <p:nvSpPr>
          <p:cNvPr id="17" name="Footer Placeholder 16" hidden="1">
            <a:extLst>
              <a:ext uri="{FF2B5EF4-FFF2-40B4-BE49-F238E27FC236}">
                <a16:creationId xmlns:a16="http://schemas.microsoft.com/office/drawing/2014/main" id="{4A132925-95FA-4753-A3A8-100A8B4A5840}"/>
              </a:ext>
            </a:extLst>
          </p:cNvPr>
          <p:cNvSpPr>
            <a:spLocks noGrp="1"/>
          </p:cNvSpPr>
          <p:nvPr>
            <p:ph type="ftr" sz="quarter" idx="16"/>
            <p:custDataLst>
              <p:tags r:id="rId7"/>
            </p:custDataLst>
          </p:nvPr>
        </p:nvSpPr>
        <p:spPr/>
        <p:txBody>
          <a:bodyPr/>
          <a:lstStyle/>
          <a:p>
            <a:endParaRPr lang="en-US"/>
          </a:p>
        </p:txBody>
      </p:sp>
      <p:sp>
        <p:nvSpPr>
          <p:cNvPr id="18" name="Slide Number Placeholder 17" hidden="1">
            <a:extLst>
              <a:ext uri="{FF2B5EF4-FFF2-40B4-BE49-F238E27FC236}">
                <a16:creationId xmlns:a16="http://schemas.microsoft.com/office/drawing/2014/main" id="{90BC69B8-D726-4EBC-AE1A-053251677C8B}"/>
              </a:ext>
            </a:extLst>
          </p:cNvPr>
          <p:cNvSpPr>
            <a:spLocks noGrp="1"/>
          </p:cNvSpPr>
          <p:nvPr>
            <p:ph type="sldNum" sz="quarter" idx="17"/>
            <p:custDataLst>
              <p:tags r:id="rId8"/>
            </p:custDataLst>
          </p:nvPr>
        </p:nvSpPr>
        <p:spPr/>
        <p:txBody>
          <a:bodyPr/>
          <a:lstStyle/>
          <a:p>
            <a:r>
              <a:rPr lang="en-US"/>
              <a:t> </a:t>
            </a:r>
          </a:p>
        </p:txBody>
      </p:sp>
      <p:sp>
        <p:nvSpPr>
          <p:cNvPr id="2" name="MIO_Placeholder_Mapping" hidden="1">
            <a:extLst>
              <a:ext uri="{FF2B5EF4-FFF2-40B4-BE49-F238E27FC236}">
                <a16:creationId xmlns:a16="http://schemas.microsoft.com/office/drawing/2014/main" id="{3B046A58-B894-4C62-9312-C4EF9EDFF3F0}"/>
              </a:ext>
            </a:extLst>
          </p:cNvPr>
          <p:cNvSpPr/>
          <p:nvPr userDrawn="1">
            <p:custDataLst>
              <p:tags r:id="rId9"/>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pic>
        <p:nvPicPr>
          <p:cNvPr id="7" name="LOGO">
            <a:extLst>
              <a:ext uri="{FF2B5EF4-FFF2-40B4-BE49-F238E27FC236}">
                <a16:creationId xmlns:a16="http://schemas.microsoft.com/office/drawing/2014/main" id="{75564267-9319-13F8-EEAD-D9F259FB3603}"/>
              </a:ext>
            </a:extLst>
          </p:cNvPr>
          <p:cNvPicPr>
            <a:picLocks noChangeAspect="1"/>
          </p:cNvPicPr>
          <p:nvPr userDrawn="1"/>
        </p:nvPicPr>
        <p:blipFill>
          <a:blip r:embed="rId11">
            <a:extLst>
              <a:ext uri="{28A0092B-C50C-407E-A947-70E740481C1C}">
                <a14:useLocalDpi xmlns:a14="http://schemas.microsoft.com/office/drawing/2010/main" val="0"/>
              </a:ext>
            </a:extLst>
          </a:blip>
          <a:srcRect/>
          <a:stretch/>
        </p:blipFill>
        <p:spPr>
          <a:xfrm>
            <a:off x="9336360" y="5517231"/>
            <a:ext cx="2502783" cy="736719"/>
          </a:xfrm>
          <a:prstGeom prst="rect">
            <a:avLst/>
          </a:prstGeom>
        </p:spPr>
      </p:pic>
    </p:spTree>
    <p:extLst>
      <p:ext uri="{BB962C8B-B14F-4D97-AF65-F5344CB8AC3E}">
        <p14:creationId xmlns:p14="http://schemas.microsoft.com/office/powerpoint/2010/main" val="2281391533"/>
      </p:ext>
    </p:extLst>
  </p:cSld>
  <p:clrMapOvr>
    <a:masterClrMapping/>
  </p:clrMapOvr>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empower_additionalText_placeholder" hidden="1">
            <a:extLst>
              <a:ext uri="{FF2B5EF4-FFF2-40B4-BE49-F238E27FC236}">
                <a16:creationId xmlns:a16="http://schemas.microsoft.com/office/drawing/2014/main" id="{93F7048C-8316-453D-8883-8716B78B0306}"/>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19AD8A63-6441-49F3-BD90-8D4DF9E47EE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hidden="1">
            <a:extLst>
              <a:ext uri="{FF2B5EF4-FFF2-40B4-BE49-F238E27FC236}">
                <a16:creationId xmlns:a16="http://schemas.microsoft.com/office/drawing/2014/main" id="{47EE7D08-6A4F-4583-B0FB-2642238529C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BBB3932D-D47B-4955-93EE-467AC52E4E27}"/>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p>
        </p:txBody>
      </p:sp>
      <p:sp>
        <p:nvSpPr>
          <p:cNvPr id="18" name="empower_classification_attention_placeholder" hidden="1">
            <a:extLst>
              <a:ext uri="{FF2B5EF4-FFF2-40B4-BE49-F238E27FC236}">
                <a16:creationId xmlns:a16="http://schemas.microsoft.com/office/drawing/2014/main" id="{ED12D396-6789-4220-B5FF-8F4E755A3C76}"/>
              </a:ext>
            </a:extLst>
          </p:cNvPr>
          <p:cNvSpPr txBox="1"/>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6" name="Title">
            <a:extLst>
              <a:ext uri="{FF2B5EF4-FFF2-40B4-BE49-F238E27FC236}">
                <a16:creationId xmlns:a16="http://schemas.microsoft.com/office/drawing/2014/main" id="{4807386D-5007-41B0-8720-8A575EEBAF4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F5FE3C92-21D9-4EC7-8208-A5BA097E9D7D}"/>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D1F9AA12-4C8C-4488-AF38-E06943B19AAF}"/>
              </a:ext>
            </a:extLst>
          </p:cNvPr>
          <p:cNvSpPr>
            <a:spLocks noGrp="1"/>
          </p:cNvSpPr>
          <p:nvPr>
            <p:ph type="dt" sz="half" idx="10"/>
            <p:custDataLst>
              <p:tags r:id="rId7"/>
            </p:custDataLst>
          </p:nvPr>
        </p:nvSpPr>
        <p:spPr/>
        <p:txBody>
          <a:bodyPr/>
          <a:lstStyle/>
          <a:p>
            <a:endParaRPr lang="en-US" b="1"/>
          </a:p>
        </p:txBody>
      </p:sp>
      <p:sp>
        <p:nvSpPr>
          <p:cNvPr id="9" name="Footer Placeholder 8" hidden="1">
            <a:extLst>
              <a:ext uri="{FF2B5EF4-FFF2-40B4-BE49-F238E27FC236}">
                <a16:creationId xmlns:a16="http://schemas.microsoft.com/office/drawing/2014/main" id="{971F8BAB-E178-4122-ADFD-FE4894CC864F}"/>
              </a:ext>
            </a:extLst>
          </p:cNvPr>
          <p:cNvSpPr>
            <a:spLocks noGrp="1"/>
          </p:cNvSpPr>
          <p:nvPr>
            <p:ph type="ftr" sz="quarter" idx="11"/>
            <p:custDataLst>
              <p:tags r:id="rId8"/>
            </p:custDataLst>
          </p:nvPr>
        </p:nvSpPr>
        <p:spPr/>
        <p:txBody>
          <a:bodyPr/>
          <a:lstStyle/>
          <a:p>
            <a:endParaRPr lang="en-US"/>
          </a:p>
        </p:txBody>
      </p:sp>
      <p:sp>
        <p:nvSpPr>
          <p:cNvPr id="11" name="Slide Number Placeholder 10" hidden="1">
            <a:extLst>
              <a:ext uri="{FF2B5EF4-FFF2-40B4-BE49-F238E27FC236}">
                <a16:creationId xmlns:a16="http://schemas.microsoft.com/office/drawing/2014/main" id="{F4BB077B-5178-4306-A596-17CDBFA21A56}"/>
              </a:ext>
            </a:extLst>
          </p:cNvPr>
          <p:cNvSpPr>
            <a:spLocks noGrp="1"/>
          </p:cNvSpPr>
          <p:nvPr>
            <p:ph type="sldNum" sz="quarter" idx="12"/>
            <p:custDataLst>
              <p:tags r:id="rId9"/>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E4D23B78-ED4D-4135-B16E-F5097554D30C}"/>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4" name="empower_footer_placeholder">
            <a:extLst>
              <a:ext uri="{FF2B5EF4-FFF2-40B4-BE49-F238E27FC236}">
                <a16:creationId xmlns:a16="http://schemas.microsoft.com/office/drawing/2014/main" id="{412B8607-B23A-4B09-29E2-7B18B9C4510B}"/>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5" name="empower_classification_placeholder">
            <a:extLst>
              <a:ext uri="{FF2B5EF4-FFF2-40B4-BE49-F238E27FC236}">
                <a16:creationId xmlns:a16="http://schemas.microsoft.com/office/drawing/2014/main" id="{E8709A32-06C2-5D14-0E57-F7052C80D8DE}"/>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13" name="empower_date_placeholder">
            <a:extLst>
              <a:ext uri="{FF2B5EF4-FFF2-40B4-BE49-F238E27FC236}">
                <a16:creationId xmlns:a16="http://schemas.microsoft.com/office/drawing/2014/main" id="{CD947C19-BE9E-42FB-5ECF-720327140FF7}"/>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2" orient="horz" pos="4020">
          <p15:clr>
            <a:srgbClr val="FBAE40"/>
          </p15:clr>
        </p15:guide>
        <p15:guide id="3" pos="7469">
          <p15:clr>
            <a:srgbClr val="FBAE40"/>
          </p15:clr>
        </p15:guide>
        <p15:guide id="4" pos="211">
          <p15:clr>
            <a:srgbClr val="FBAE40"/>
          </p15:clr>
        </p15:guide>
        <p15:guide id="15" orient="horz" pos="79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8" name="empower_additionalText_placeholder" hidden="1">
            <a:extLst>
              <a:ext uri="{FF2B5EF4-FFF2-40B4-BE49-F238E27FC236}">
                <a16:creationId xmlns:a16="http://schemas.microsoft.com/office/drawing/2014/main" id="{9D9C4037-B0BC-4E62-B476-A41D0440655D}"/>
              </a:ext>
            </a:extLst>
          </p:cNvPr>
          <p:cNvSpPr txBox="1">
            <a:spLocks/>
          </p:cNvSpPr>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1" name="empower_document_placeholder" hidden="1">
            <a:extLst>
              <a:ext uri="{FF2B5EF4-FFF2-40B4-BE49-F238E27FC236}">
                <a16:creationId xmlns:a16="http://schemas.microsoft.com/office/drawing/2014/main" id="{7BEA6DD0-FBBB-494B-9C03-C447E71492A5}"/>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3" name="empower_proprietary_placeholder" hidden="1">
            <a:extLst>
              <a:ext uri="{FF2B5EF4-FFF2-40B4-BE49-F238E27FC236}">
                <a16:creationId xmlns:a16="http://schemas.microsoft.com/office/drawing/2014/main" id="{295E96AB-B6AB-4A8B-A097-6438B2DA5C51}"/>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5" name="empower_draft_placeholder" hidden="1">
            <a:extLst>
              <a:ext uri="{FF2B5EF4-FFF2-40B4-BE49-F238E27FC236}">
                <a16:creationId xmlns:a16="http://schemas.microsoft.com/office/drawing/2014/main" id="{0B3EC6CF-5868-40BD-BF1B-882B13F49F5C}"/>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19" name="empower_classification_attention_placeholder" hidden="1">
            <a:extLst>
              <a:ext uri="{FF2B5EF4-FFF2-40B4-BE49-F238E27FC236}">
                <a16:creationId xmlns:a16="http://schemas.microsoft.com/office/drawing/2014/main" id="{E695FB18-B641-433F-A03A-D58B93F377B4}"/>
              </a:ext>
            </a:extLst>
          </p:cNvPr>
          <p:cNvSpPr txBox="1"/>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p:cNvSpPr>
            <a:spLocks noGrp="1"/>
          </p:cNvSpPr>
          <p:nvPr>
            <p:ph sz="quarter" idx="13" hasCustomPrompt="1"/>
          </p:nvPr>
        </p:nvSpPr>
        <p:spPr>
          <a:xfrm>
            <a:off x="334800" y="1268414"/>
            <a:ext cx="11520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2209D2CA-FDE2-4B12-9D75-213CCFE3FA9C}"/>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9" name="LOGO PROTECTION" hidden="1">
            <a:extLst>
              <a:ext uri="{FF2B5EF4-FFF2-40B4-BE49-F238E27FC236}">
                <a16:creationId xmlns:a16="http://schemas.microsoft.com/office/drawing/2014/main" id="{DF1FB678-4F92-45E5-9B25-2B5FE93A0952}"/>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3" name="MIO_Placeholder_Mapping" hidden="1">
            <a:extLst>
              <a:ext uri="{FF2B5EF4-FFF2-40B4-BE49-F238E27FC236}">
                <a16:creationId xmlns:a16="http://schemas.microsoft.com/office/drawing/2014/main" id="{C0BE19B5-FA3E-481C-ACF3-046C2AA8A91D}"/>
              </a:ext>
            </a:extLst>
          </p:cNvPr>
          <p:cNvSpPr/>
          <p:nvPr userDrawn="1">
            <p:custDataLst>
              <p:tags r:id="rId7"/>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16" name="Date Placeholder 15">
            <a:extLst>
              <a:ext uri="{FF2B5EF4-FFF2-40B4-BE49-F238E27FC236}">
                <a16:creationId xmlns:a16="http://schemas.microsoft.com/office/drawing/2014/main" id="{AE7C2CD8-51F6-84D5-C470-B938F011AB20}"/>
              </a:ext>
            </a:extLst>
          </p:cNvPr>
          <p:cNvSpPr>
            <a:spLocks noGrp="1"/>
          </p:cNvSpPr>
          <p:nvPr>
            <p:ph type="dt" sz="half" idx="14"/>
          </p:nvPr>
        </p:nvSpPr>
        <p:spPr/>
        <p:txBody>
          <a:bodyPr/>
          <a:lstStyle/>
          <a:p>
            <a:endParaRPr lang="en-US" b="1"/>
          </a:p>
        </p:txBody>
      </p:sp>
      <p:sp>
        <p:nvSpPr>
          <p:cNvPr id="18" name="Footer Placeholder 17">
            <a:extLst>
              <a:ext uri="{FF2B5EF4-FFF2-40B4-BE49-F238E27FC236}">
                <a16:creationId xmlns:a16="http://schemas.microsoft.com/office/drawing/2014/main" id="{EE4D22F7-7348-86BB-D216-A2E404B743AB}"/>
              </a:ext>
            </a:extLst>
          </p:cNvPr>
          <p:cNvSpPr>
            <a:spLocks noGrp="1"/>
          </p:cNvSpPr>
          <p:nvPr>
            <p:ph type="ftr" sz="quarter" idx="15"/>
          </p:nvPr>
        </p:nvSpPr>
        <p:spPr/>
        <p:txBody>
          <a:bodyPr/>
          <a:lstStyle/>
          <a:p>
            <a:endParaRPr lang="en-US"/>
          </a:p>
        </p:txBody>
      </p:sp>
      <p:sp>
        <p:nvSpPr>
          <p:cNvPr id="20" name="Slide Number Placeholder 19">
            <a:extLst>
              <a:ext uri="{FF2B5EF4-FFF2-40B4-BE49-F238E27FC236}">
                <a16:creationId xmlns:a16="http://schemas.microsoft.com/office/drawing/2014/main" id="{51FD46C1-99E4-32F0-2F7E-6F40AFB84D4A}"/>
              </a:ext>
            </a:extLst>
          </p:cNvPr>
          <p:cNvSpPr>
            <a:spLocks noGrp="1"/>
          </p:cNvSpPr>
          <p:nvPr>
            <p:ph type="sldNum" sz="quarter" idx="16"/>
          </p:nvPr>
        </p:nvSpPr>
        <p:spPr/>
        <p:txBody>
          <a:bodyPr/>
          <a:lstStyle/>
          <a:p>
            <a:r>
              <a:rPr lang="en-US"/>
              <a:t> </a:t>
            </a:r>
          </a:p>
        </p:txBody>
      </p:sp>
      <p:sp>
        <p:nvSpPr>
          <p:cNvPr id="2" name="empower_footer_placeholder">
            <a:extLst>
              <a:ext uri="{FF2B5EF4-FFF2-40B4-BE49-F238E27FC236}">
                <a16:creationId xmlns:a16="http://schemas.microsoft.com/office/drawing/2014/main" id="{D80519F5-DC38-5EB4-DCE5-15803AFCF301}"/>
              </a:ext>
            </a:extLst>
          </p:cNvPr>
          <p:cNvSpPr txBox="1"/>
          <p:nvPr userDrawn="1">
            <p:custDataLst>
              <p:tags r:id="rId8"/>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4" name="empower_classification_placeholder">
            <a:extLst>
              <a:ext uri="{FF2B5EF4-FFF2-40B4-BE49-F238E27FC236}">
                <a16:creationId xmlns:a16="http://schemas.microsoft.com/office/drawing/2014/main" id="{93CB6694-F2BC-6EDE-3799-6630E99AAA2C}"/>
              </a:ext>
            </a:extLst>
          </p:cNvPr>
          <p:cNvSpPr txBox="1"/>
          <p:nvPr userDrawn="1">
            <p:custDataLst>
              <p:tags r:id="rId9"/>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5" name="empower_date_placeholder">
            <a:extLst>
              <a:ext uri="{FF2B5EF4-FFF2-40B4-BE49-F238E27FC236}">
                <a16:creationId xmlns:a16="http://schemas.microsoft.com/office/drawing/2014/main" id="{ADD54DAA-8021-EA19-BCAA-E12A1D066445}"/>
              </a:ext>
            </a:extLst>
          </p:cNvPr>
          <p:cNvSpPr txBox="1"/>
          <p:nvPr userDrawn="1">
            <p:custDataLst>
              <p:tags r:id="rId10"/>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pos="7469">
          <p15:clr>
            <a:srgbClr val="FBAE40"/>
          </p15:clr>
        </p15:guide>
        <p15:guide id="2" pos="211">
          <p15:clr>
            <a:srgbClr val="FBAE40"/>
          </p15:clr>
        </p15:guide>
        <p15:guide id="3" orient="horz" pos="799">
          <p15:clr>
            <a:srgbClr val="FBAE40"/>
          </p15:clr>
        </p15:guide>
        <p15:guide id="4" orient="horz" pos="40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FD35C554-56A1-4651-98F3-FC19B8770A8A}"/>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2" name="empower_document_placeholder" hidden="1">
            <a:extLst>
              <a:ext uri="{FF2B5EF4-FFF2-40B4-BE49-F238E27FC236}">
                <a16:creationId xmlns:a16="http://schemas.microsoft.com/office/drawing/2014/main" id="{4FA374A8-328C-4586-BEF8-CF0921FBF7D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4" name="empower_proprietary_placeholder" hidden="1">
            <a:extLst>
              <a:ext uri="{FF2B5EF4-FFF2-40B4-BE49-F238E27FC236}">
                <a16:creationId xmlns:a16="http://schemas.microsoft.com/office/drawing/2014/main" id="{AEB670C2-21D6-4210-BA37-DF3C9B9933BC}"/>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6" name="empower_draft_placeholder" hidden="1">
            <a:extLst>
              <a:ext uri="{FF2B5EF4-FFF2-40B4-BE49-F238E27FC236}">
                <a16:creationId xmlns:a16="http://schemas.microsoft.com/office/drawing/2014/main" id="{21B71886-0324-4B36-AA82-C90CF46385B2}"/>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20" name="empower_classification_attention_placeholder" hidden="1">
            <a:extLst>
              <a:ext uri="{FF2B5EF4-FFF2-40B4-BE49-F238E27FC236}">
                <a16:creationId xmlns:a16="http://schemas.microsoft.com/office/drawing/2014/main" id="{B5FD8F85-4CB3-489A-86B2-4ABCB308F30D}"/>
              </a:ext>
            </a:extLst>
          </p:cNvPr>
          <p:cNvSpPr txBox="1"/>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Left"/>
          <p:cNvSpPr>
            <a:spLocks noGrp="1"/>
          </p:cNvSpPr>
          <p:nvPr>
            <p:ph sz="quarter" idx="13" hasCustomPrompt="1"/>
          </p:nvPr>
        </p:nvSpPr>
        <p:spPr>
          <a:xfrm>
            <a:off x="334800" y="1268414"/>
            <a:ext cx="5688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Right"/>
          <p:cNvSpPr>
            <a:spLocks noGrp="1"/>
          </p:cNvSpPr>
          <p:nvPr>
            <p:ph sz="quarter" idx="14" hasCustomPrompt="1"/>
          </p:nvPr>
        </p:nvSpPr>
        <p:spPr>
          <a:xfrm>
            <a:off x="6167439" y="1268414"/>
            <a:ext cx="5689202"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373E7DFD-EB78-498B-97A4-CE06BA4BEC4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D623209F-EEBF-4451-AF99-363F6EA35F67}"/>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9850AB63-C5F5-4BA2-A73E-BB668324B70F}"/>
              </a:ext>
            </a:extLst>
          </p:cNvPr>
          <p:cNvSpPr>
            <a:spLocks noGrp="1"/>
          </p:cNvSpPr>
          <p:nvPr>
            <p:ph type="dt" sz="half" idx="15"/>
            <p:custDataLst>
              <p:tags r:id="rId7"/>
            </p:custDataLst>
          </p:nvPr>
        </p:nvSpPr>
        <p:spPr/>
        <p:txBody>
          <a:bodyPr/>
          <a:lstStyle/>
          <a:p>
            <a:endParaRPr lang="en-US" b="1"/>
          </a:p>
        </p:txBody>
      </p:sp>
      <p:sp>
        <p:nvSpPr>
          <p:cNvPr id="11" name="Footer Placeholder 10" hidden="1">
            <a:extLst>
              <a:ext uri="{FF2B5EF4-FFF2-40B4-BE49-F238E27FC236}">
                <a16:creationId xmlns:a16="http://schemas.microsoft.com/office/drawing/2014/main" id="{ED18627F-EDFA-45CA-A572-C60F0E37473A}"/>
              </a:ext>
            </a:extLst>
          </p:cNvPr>
          <p:cNvSpPr>
            <a:spLocks noGrp="1"/>
          </p:cNvSpPr>
          <p:nvPr>
            <p:ph type="ftr" sz="quarter" idx="16"/>
            <p:custDataLst>
              <p:tags r:id="rId8"/>
            </p:custDataLst>
          </p:nvPr>
        </p:nvSpPr>
        <p:spPr/>
        <p:txBody>
          <a:bodyPr/>
          <a:lstStyle/>
          <a:p>
            <a:endParaRPr lang="en-US"/>
          </a:p>
        </p:txBody>
      </p:sp>
      <p:sp>
        <p:nvSpPr>
          <p:cNvPr id="13" name="Slide Number Placeholder 12" hidden="1">
            <a:extLst>
              <a:ext uri="{FF2B5EF4-FFF2-40B4-BE49-F238E27FC236}">
                <a16:creationId xmlns:a16="http://schemas.microsoft.com/office/drawing/2014/main" id="{E2FA0071-6D08-45B0-AF4E-22BFCF09E76B}"/>
              </a:ext>
            </a:extLst>
          </p:cNvPr>
          <p:cNvSpPr>
            <a:spLocks noGrp="1"/>
          </p:cNvSpPr>
          <p:nvPr>
            <p:ph type="sldNum" sz="quarter" idx="17"/>
            <p:custDataLst>
              <p:tags r:id="rId9"/>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673026AB-61DE-4BDA-8F8E-CCC68BAAE095}"/>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4" name="empower_footer_placeholder">
            <a:extLst>
              <a:ext uri="{FF2B5EF4-FFF2-40B4-BE49-F238E27FC236}">
                <a16:creationId xmlns:a16="http://schemas.microsoft.com/office/drawing/2014/main" id="{FC9B956D-C9B4-E014-74CC-9ACB45C6963F}"/>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5" name="empower_classification_placeholder">
            <a:extLst>
              <a:ext uri="{FF2B5EF4-FFF2-40B4-BE49-F238E27FC236}">
                <a16:creationId xmlns:a16="http://schemas.microsoft.com/office/drawing/2014/main" id="{27331360-D338-ADEF-ACD7-9356CB9DEF9F}"/>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15" name="empower_date_placeholder">
            <a:extLst>
              <a:ext uri="{FF2B5EF4-FFF2-40B4-BE49-F238E27FC236}">
                <a16:creationId xmlns:a16="http://schemas.microsoft.com/office/drawing/2014/main" id="{18485D17-1751-9AD8-996E-50DA73E1286B}"/>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pos="3885">
          <p15:clr>
            <a:srgbClr val="FBAE40"/>
          </p15:clr>
        </p15:guide>
        <p15:guide id="2" pos="7469">
          <p15:clr>
            <a:srgbClr val="FBAE40"/>
          </p15:clr>
        </p15:guide>
        <p15:guide id="3" pos="3795">
          <p15:clr>
            <a:srgbClr val="FBAE40"/>
          </p15:clr>
        </p15:guide>
        <p15:guide id="4" pos="211">
          <p15:clr>
            <a:srgbClr val="FBAE40"/>
          </p15:clr>
        </p15:guide>
        <p15:guide id="5" orient="horz" pos="799">
          <p15:clr>
            <a:srgbClr val="FBAE40"/>
          </p15:clr>
        </p15:guide>
        <p15:guide id="6" orient="horz" pos="40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1">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 name="Crystal Shape">
            <a:extLst>
              <a:ext uri="{FF2B5EF4-FFF2-40B4-BE49-F238E27FC236}">
                <a16:creationId xmlns:a16="http://schemas.microsoft.com/office/drawing/2014/main" id="{3FBBF7BF-BA7F-647C-39AB-CEDA0092AA91}"/>
              </a:ext>
            </a:extLst>
          </p:cNvPr>
          <p:cNvSpPr/>
          <p:nvPr userDrawn="1"/>
        </p:nvSpPr>
        <p:spPr>
          <a:xfrm rot="5400000">
            <a:off x="1207129" y="-1234005"/>
            <a:ext cx="6878637" cy="9330464"/>
          </a:xfrm>
          <a:custGeom>
            <a:avLst/>
            <a:gdLst>
              <a:gd name="connsiteX0" fmla="*/ 0 w 6870543"/>
              <a:gd name="connsiteY0" fmla="*/ 727877 h 5591944"/>
              <a:gd name="connsiteX1" fmla="*/ 1726296 w 6870543"/>
              <a:gd name="connsiteY1" fmla="*/ 0 h 5591944"/>
              <a:gd name="connsiteX2" fmla="*/ 6870543 w 6870543"/>
              <a:gd name="connsiteY2" fmla="*/ 1136853 h 5591944"/>
              <a:gd name="connsiteX3" fmla="*/ 6870543 w 6870543"/>
              <a:gd name="connsiteY3" fmla="*/ 5591944 h 5591944"/>
              <a:gd name="connsiteX4" fmla="*/ 0 w 6870543"/>
              <a:gd name="connsiteY4" fmla="*/ 5591944 h 5591944"/>
              <a:gd name="connsiteX5" fmla="*/ 0 w 6870543"/>
              <a:gd name="connsiteY5" fmla="*/ 727877 h 5591944"/>
              <a:gd name="connsiteX0" fmla="*/ 0 w 6870545"/>
              <a:gd name="connsiteY0" fmla="*/ 727877 h 9322375"/>
              <a:gd name="connsiteX1" fmla="*/ 1726296 w 6870545"/>
              <a:gd name="connsiteY1" fmla="*/ 0 h 9322375"/>
              <a:gd name="connsiteX2" fmla="*/ 6870543 w 6870545"/>
              <a:gd name="connsiteY2" fmla="*/ 1136853 h 9322375"/>
              <a:gd name="connsiteX3" fmla="*/ 6870545 w 6870545"/>
              <a:gd name="connsiteY3" fmla="*/ 9322375 h 9322375"/>
              <a:gd name="connsiteX4" fmla="*/ 0 w 6870545"/>
              <a:gd name="connsiteY4" fmla="*/ 5591944 h 9322375"/>
              <a:gd name="connsiteX5" fmla="*/ 0 w 6870545"/>
              <a:gd name="connsiteY5" fmla="*/ 727877 h 9322375"/>
              <a:gd name="connsiteX0" fmla="*/ 8092 w 6878637"/>
              <a:gd name="connsiteY0" fmla="*/ 727877 h 9330464"/>
              <a:gd name="connsiteX1" fmla="*/ 1734388 w 6878637"/>
              <a:gd name="connsiteY1" fmla="*/ 0 h 9330464"/>
              <a:gd name="connsiteX2" fmla="*/ 6878635 w 6878637"/>
              <a:gd name="connsiteY2" fmla="*/ 1136853 h 9330464"/>
              <a:gd name="connsiteX3" fmla="*/ 6878637 w 6878637"/>
              <a:gd name="connsiteY3" fmla="*/ 9322375 h 9330464"/>
              <a:gd name="connsiteX4" fmla="*/ 0 w 6878637"/>
              <a:gd name="connsiteY4" fmla="*/ 9330464 h 9330464"/>
              <a:gd name="connsiteX5" fmla="*/ 8092 w 6878637"/>
              <a:gd name="connsiteY5" fmla="*/ 727877 h 933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8637" h="9330464">
                <a:moveTo>
                  <a:pt x="8092" y="727877"/>
                </a:moveTo>
                <a:lnTo>
                  <a:pt x="1734388" y="0"/>
                </a:lnTo>
                <a:lnTo>
                  <a:pt x="6878635" y="1136853"/>
                </a:lnTo>
                <a:cubicBezTo>
                  <a:pt x="6878636" y="3865360"/>
                  <a:pt x="6878636" y="6593868"/>
                  <a:pt x="6878637" y="9322375"/>
                </a:cubicBezTo>
                <a:lnTo>
                  <a:pt x="0" y="9330464"/>
                </a:lnTo>
                <a:cubicBezTo>
                  <a:pt x="2697" y="6462935"/>
                  <a:pt x="5395" y="3595406"/>
                  <a:pt x="8092" y="727877"/>
                </a:cubicBezTo>
                <a:close/>
              </a:path>
            </a:pathLst>
          </a:custGeom>
          <a:solidFill>
            <a:srgbClr val="7390A6"/>
          </a:solidFill>
          <a:ln w="11542" cap="flat">
            <a:noFill/>
            <a:prstDash val="solid"/>
            <a:miter/>
          </a:ln>
        </p:spPr>
        <p:txBody>
          <a:bodyPr rtlCol="0" anchor="ctr"/>
          <a:lstStyle/>
          <a:p>
            <a:endParaRPr lang="de-DE"/>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bg1"/>
                </a:solidFill>
                <a:latin typeface="+mj-lt"/>
                <a:ea typeface="+mj-ea"/>
                <a:cs typeface="+mj-cs"/>
              </a:defRPr>
            </a:lvl1pPr>
          </a:lstStyle>
          <a:p>
            <a:r>
              <a:rPr lang="en-US" noProof="0"/>
              <a:t>Click to enter Section</a:t>
            </a:r>
          </a:p>
        </p:txBody>
      </p:sp>
      <p:sp>
        <p:nvSpPr>
          <p:cNvPr id="5" name="LOGO PROTECTION" hidden="1">
            <a:extLst>
              <a:ext uri="{FF2B5EF4-FFF2-40B4-BE49-F238E27FC236}">
                <a16:creationId xmlns:a16="http://schemas.microsoft.com/office/drawing/2014/main" id="{D0048F1C-4756-47EC-8B66-DB56E576453D}"/>
              </a:ext>
            </a:extLst>
          </p:cNvPr>
          <p:cNvSpPr/>
          <p:nvPr>
            <p:custDataLst>
              <p:tags r:id="rId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2"/>
            </p:custDataLst>
          </p:nvPr>
        </p:nvSpPr>
        <p:spPr/>
        <p:txBody>
          <a:bodyPr/>
          <a:lstStyle/>
          <a:p>
            <a:endParaRPr lang="en-US" b="1"/>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3"/>
            </p:custDataLst>
          </p:nvPr>
        </p:nvSpPr>
        <p:spPr/>
        <p:txBody>
          <a:bodyPr/>
          <a:lstStyle/>
          <a:p>
            <a:endParaRPr lang="en-US"/>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4"/>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E4554E90-4FD5-45B2-A49A-214245B7F6D7}"/>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Tree>
    <p:extLst>
      <p:ext uri="{BB962C8B-B14F-4D97-AF65-F5344CB8AC3E}">
        <p14:creationId xmlns:p14="http://schemas.microsoft.com/office/powerpoint/2010/main" val="987074326"/>
      </p:ext>
    </p:extLst>
  </p:cSld>
  <p:clrMapOvr>
    <a:masterClrMapping/>
  </p:clrMapOvr>
  <p:hf hdr="0" dt="0"/>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2">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16" name="Crystal Shape">
            <a:extLst>
              <a:ext uri="{FF2B5EF4-FFF2-40B4-BE49-F238E27FC236}">
                <a16:creationId xmlns:a16="http://schemas.microsoft.com/office/drawing/2014/main" id="{63F28C96-D1D9-271E-B326-A1C4DC6BC78F}"/>
              </a:ext>
            </a:extLst>
          </p:cNvPr>
          <p:cNvSpPr/>
          <p:nvPr userDrawn="1"/>
        </p:nvSpPr>
        <p:spPr>
          <a:xfrm rot="16200000">
            <a:off x="6866258" y="1532259"/>
            <a:ext cx="6857999" cy="3793483"/>
          </a:xfrm>
          <a:custGeom>
            <a:avLst/>
            <a:gdLst>
              <a:gd name="connsiteX0" fmla="*/ 6857999 w 6857999"/>
              <a:gd name="connsiteY0" fmla="*/ 1129077 h 3793483"/>
              <a:gd name="connsiteX1" fmla="*/ 6857999 w 6857999"/>
              <a:gd name="connsiteY1" fmla="*/ 3792536 h 3793483"/>
              <a:gd name="connsiteX2" fmla="*/ 0 w 6857999"/>
              <a:gd name="connsiteY2" fmla="*/ 3793483 h 3793483"/>
              <a:gd name="connsiteX3" fmla="*/ 0 w 6857999"/>
              <a:gd name="connsiteY3" fmla="*/ 729579 h 3793483"/>
              <a:gd name="connsiteX4" fmla="*/ 1748945 w 6857999"/>
              <a:gd name="connsiteY4" fmla="*/ 0 h 3793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99" h="3793483">
                <a:moveTo>
                  <a:pt x="6857999" y="1129077"/>
                </a:moveTo>
                <a:lnTo>
                  <a:pt x="6857999" y="3792536"/>
                </a:lnTo>
                <a:lnTo>
                  <a:pt x="0" y="3793483"/>
                </a:lnTo>
                <a:lnTo>
                  <a:pt x="0" y="729579"/>
                </a:lnTo>
                <a:lnTo>
                  <a:pt x="1748945" y="0"/>
                </a:lnTo>
                <a:close/>
              </a:path>
            </a:pathLst>
          </a:custGeom>
          <a:solidFill>
            <a:srgbClr val="7390A6"/>
          </a:solidFill>
          <a:ln w="11542" cap="flat">
            <a:noFill/>
            <a:prstDash val="solid"/>
            <a:miter/>
          </a:ln>
        </p:spPr>
        <p:txBody>
          <a:bodyPr wrap="square" rtlCol="0" anchor="ctr">
            <a:noAutofit/>
          </a:bodyPr>
          <a:lstStyle/>
          <a:p>
            <a:endParaRPr lang="de-DE"/>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tx2"/>
                </a:solidFill>
                <a:latin typeface="+mj-lt"/>
                <a:ea typeface="+mj-ea"/>
                <a:cs typeface="+mj-cs"/>
              </a:defRPr>
            </a:lvl1pPr>
          </a:lstStyle>
          <a:p>
            <a:r>
              <a:rPr lang="en-US" noProof="0"/>
              <a:t>Click to enter Section</a:t>
            </a: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1"/>
            </p:custDataLst>
          </p:nvPr>
        </p:nvSpPr>
        <p:spPr/>
        <p:txBody>
          <a:bodyPr/>
          <a:lstStyle/>
          <a:p>
            <a:endParaRPr lang="en-US" b="1"/>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2"/>
            </p:custDataLst>
          </p:nvPr>
        </p:nvSpPr>
        <p:spPr/>
        <p:txBody>
          <a:bodyPr/>
          <a:lstStyle/>
          <a:p>
            <a:endParaRPr lang="en-US"/>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3"/>
            </p:custDataLst>
          </p:nvPr>
        </p:nvSpPr>
        <p:spPr/>
        <p:txBody>
          <a:bodyPr/>
          <a:lstStyle/>
          <a:p>
            <a:r>
              <a:rPr lang="en-US"/>
              <a:t> </a:t>
            </a:r>
          </a:p>
        </p:txBody>
      </p:sp>
      <p:pic>
        <p:nvPicPr>
          <p:cNvPr id="14" name="LOGO">
            <a:extLst>
              <a:ext uri="{FF2B5EF4-FFF2-40B4-BE49-F238E27FC236}">
                <a16:creationId xmlns:a16="http://schemas.microsoft.com/office/drawing/2014/main" id="{E2919660-0784-4B00-9836-7A6951590970}"/>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9730618" y="280004"/>
            <a:ext cx="2135872" cy="628715"/>
          </a:xfrm>
          <a:prstGeom prst="rect">
            <a:avLst/>
          </a:prstGeom>
        </p:spPr>
      </p:pic>
    </p:spTree>
    <p:extLst>
      <p:ext uri="{BB962C8B-B14F-4D97-AF65-F5344CB8AC3E}">
        <p14:creationId xmlns:p14="http://schemas.microsoft.com/office/powerpoint/2010/main" val="114647271"/>
      </p:ext>
    </p:extLst>
  </p:cSld>
  <p:clrMapOvr>
    <a:masterClrMapping/>
  </p:clrMapOvr>
  <p:hf hdr="0" dt="0"/>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fourObj" preserve="1">
  <p:cSld name="4 content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8B1B7AE2-264A-4900-9F60-CC5615C90F03}"/>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F2DD26D5-8427-4844-992F-AA5F995450F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879A7BCC-64D2-4276-855E-685546620EF5}"/>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B8FD1BFA-BD00-4A1A-9BEE-984BDA7A138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22" name="empower_classification_attention_placeholder" hidden="1">
            <a:extLst>
              <a:ext uri="{FF2B5EF4-FFF2-40B4-BE49-F238E27FC236}">
                <a16:creationId xmlns:a16="http://schemas.microsoft.com/office/drawing/2014/main" id="{0FDEE340-AE14-4EB2-8F0B-840A5F5E2FB9}"/>
              </a:ext>
            </a:extLst>
          </p:cNvPr>
          <p:cNvSpPr txBox="1"/>
          <p:nvPr>
            <p:custDataLst>
              <p:tags r:id="rId5"/>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Top Left"/>
          <p:cNvSpPr>
            <a:spLocks noGrp="1"/>
          </p:cNvSpPr>
          <p:nvPr>
            <p:ph sz="quarter" idx="13" hasCustomPrompt="1"/>
          </p:nvPr>
        </p:nvSpPr>
        <p:spPr>
          <a:xfrm>
            <a:off x="334800"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Top Right"/>
          <p:cNvSpPr>
            <a:spLocks noGrp="1"/>
          </p:cNvSpPr>
          <p:nvPr>
            <p:ph sz="quarter" idx="14" hasCustomPrompt="1"/>
          </p:nvPr>
        </p:nvSpPr>
        <p:spPr>
          <a:xfrm>
            <a:off x="6166799"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Left"/>
          <p:cNvSpPr>
            <a:spLocks noGrp="1"/>
          </p:cNvSpPr>
          <p:nvPr>
            <p:ph sz="quarter" idx="15"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Right"/>
          <p:cNvSpPr>
            <a:spLocks noGrp="1"/>
          </p:cNvSpPr>
          <p:nvPr>
            <p:ph sz="quarter" idx="16" hasCustomPrompt="1"/>
          </p:nvPr>
        </p:nvSpPr>
        <p:spPr>
          <a:xfrm>
            <a:off x="6166799"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4034893-5E9F-45A3-8C16-98C9F6C02B8F}"/>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4ED1F400-5A94-4F05-84F8-53C80E7C434C}"/>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C8E721-6FC1-4A4E-9559-945024071571}"/>
              </a:ext>
            </a:extLst>
          </p:cNvPr>
          <p:cNvSpPr>
            <a:spLocks noGrp="1"/>
          </p:cNvSpPr>
          <p:nvPr>
            <p:ph type="dt" sz="half" idx="17"/>
            <p:custDataLst>
              <p:tags r:id="rId7"/>
            </p:custDataLst>
          </p:nvPr>
        </p:nvSpPr>
        <p:spPr/>
        <p:txBody>
          <a:bodyPr/>
          <a:lstStyle/>
          <a:p>
            <a:endParaRPr lang="en-US" b="1"/>
          </a:p>
        </p:txBody>
      </p:sp>
      <p:sp>
        <p:nvSpPr>
          <p:cNvPr id="14" name="Footer Placeholder 13" hidden="1">
            <a:extLst>
              <a:ext uri="{FF2B5EF4-FFF2-40B4-BE49-F238E27FC236}">
                <a16:creationId xmlns:a16="http://schemas.microsoft.com/office/drawing/2014/main" id="{89885E48-72F6-4042-BF62-A49ACDF10504}"/>
              </a:ext>
            </a:extLst>
          </p:cNvPr>
          <p:cNvSpPr>
            <a:spLocks noGrp="1"/>
          </p:cNvSpPr>
          <p:nvPr>
            <p:ph type="ftr" sz="quarter" idx="18"/>
            <p:custDataLst>
              <p:tags r:id="rId8"/>
            </p:custDataLst>
          </p:nvPr>
        </p:nvSpPr>
        <p:spPr/>
        <p:txBody>
          <a:bodyPr/>
          <a:lstStyle/>
          <a:p>
            <a:endParaRPr lang="en-US"/>
          </a:p>
        </p:txBody>
      </p:sp>
      <p:sp>
        <p:nvSpPr>
          <p:cNvPr id="15" name="Slide Number Placeholder 14" hidden="1">
            <a:extLst>
              <a:ext uri="{FF2B5EF4-FFF2-40B4-BE49-F238E27FC236}">
                <a16:creationId xmlns:a16="http://schemas.microsoft.com/office/drawing/2014/main" id="{0242B527-F278-4C5E-9E24-C19CDFEB73B1}"/>
              </a:ext>
            </a:extLst>
          </p:cNvPr>
          <p:cNvSpPr>
            <a:spLocks noGrp="1"/>
          </p:cNvSpPr>
          <p:nvPr>
            <p:ph type="sldNum" sz="quarter" idx="19"/>
            <p:custDataLst>
              <p:tags r:id="rId9"/>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C4E976BE-C7DE-4FCF-9535-07568046A13E}"/>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4" name="empower_footer_placeholder">
            <a:extLst>
              <a:ext uri="{FF2B5EF4-FFF2-40B4-BE49-F238E27FC236}">
                <a16:creationId xmlns:a16="http://schemas.microsoft.com/office/drawing/2014/main" id="{8EE896C8-53AD-E1F1-73C6-F4641DD5A57D}"/>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5" name="empower_classification_placeholder">
            <a:extLst>
              <a:ext uri="{FF2B5EF4-FFF2-40B4-BE49-F238E27FC236}">
                <a16:creationId xmlns:a16="http://schemas.microsoft.com/office/drawing/2014/main" id="{FC4019C4-C393-67A6-FB53-9B1FB8AE8536}"/>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17" name="empower_date_placeholder">
            <a:extLst>
              <a:ext uri="{FF2B5EF4-FFF2-40B4-BE49-F238E27FC236}">
                <a16:creationId xmlns:a16="http://schemas.microsoft.com/office/drawing/2014/main" id="{8A932258-C7A9-9A56-FA85-31942E51E792}"/>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pos="3795">
          <p15:clr>
            <a:srgbClr val="FBAE40"/>
          </p15:clr>
        </p15:guide>
        <p15:guide id="2" pos="211">
          <p15:clr>
            <a:srgbClr val="FBAE40"/>
          </p15:clr>
        </p15:guide>
        <p15:guide id="3" pos="3885">
          <p15:clr>
            <a:srgbClr val="FBAE40"/>
          </p15:clr>
        </p15:guide>
        <p15:guide id="4" pos="7469">
          <p15:clr>
            <a:srgbClr val="FBAE40"/>
          </p15:clr>
        </p15:guide>
        <p15:guide id="5" orient="horz" pos="799">
          <p15:clr>
            <a:srgbClr val="FBAE40"/>
          </p15:clr>
        </p15:guide>
        <p15:guide id="6" orient="horz" pos="4020">
          <p15:clr>
            <a:srgbClr val="FBAE40"/>
          </p15:clr>
        </p15:guide>
        <p15:guide id="7" orient="horz" pos="2273">
          <p15:clr>
            <a:srgbClr val="FBAE40"/>
          </p15:clr>
        </p15:guide>
        <p15:guide id="8" orient="horz" pos="243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Pr>
        <a:solidFill>
          <a:schemeClr val="bg1"/>
        </a:solidFill>
        <a:effectLst/>
      </p:bgPr>
    </p:bg>
    <p:spTree>
      <p:nvGrpSpPr>
        <p:cNvPr id="1" name=""/>
        <p:cNvGrpSpPr/>
        <p:nvPr/>
      </p:nvGrpSpPr>
      <p:grpSpPr>
        <a:xfrm>
          <a:off x="0" y="0"/>
          <a:ext cx="0" cy="0"/>
          <a:chOff x="0" y="0"/>
          <a:chExt cx="0" cy="0"/>
        </a:xfrm>
      </p:grpSpPr>
      <p:sp>
        <p:nvSpPr>
          <p:cNvPr id="5" name="Slide Number Placeholder" hidden="1">
            <a:extLst>
              <a:ext uri="{FF2B5EF4-FFF2-40B4-BE49-F238E27FC236}">
                <a16:creationId xmlns:a16="http://schemas.microsoft.com/office/drawing/2014/main" id="{372AE43B-8F10-43C8-8785-1E1CB85CFADE}"/>
              </a:ext>
            </a:extLst>
          </p:cNvPr>
          <p:cNvSpPr>
            <a:spLocks noGrp="1"/>
          </p:cNvSpPr>
          <p:nvPr>
            <p:ph type="sldNum" sz="quarter" idx="4"/>
            <p:custDataLst>
              <p:tags r:id="rId20"/>
            </p:custDataLst>
          </p:nvPr>
        </p:nvSpPr>
        <p:spPr>
          <a:xfrm>
            <a:off x="12192000" y="6858000"/>
            <a:ext cx="0" cy="0"/>
          </a:xfrm>
          <a:prstGeom prst="rect">
            <a:avLst/>
          </a:prstGeom>
        </p:spPr>
        <p:txBody>
          <a:bodyPr vert="horz" wrap="none" lIns="0" tIns="0" rIns="0" bIns="0" rtlCol="0" anchor="b">
            <a:noAutofit/>
          </a:bodyPr>
          <a:lstStyle>
            <a:lvl1pPr algn="r" fontAlgn="t">
              <a:buClr>
                <a:srgbClr val="928285"/>
              </a:buClr>
              <a:defRPr sz="100" b="0">
                <a:noFill/>
                <a:latin typeface="+mn-lt"/>
                <a:ea typeface="+mn-ea"/>
                <a:cs typeface="+mn-cs"/>
              </a:defRPr>
            </a:lvl1pPr>
          </a:lstStyle>
          <a:p>
            <a:r>
              <a:rPr lang="en-US"/>
              <a:t> </a:t>
            </a:r>
          </a:p>
        </p:txBody>
      </p:sp>
      <p:sp>
        <p:nvSpPr>
          <p:cNvPr id="7" name="Footer Placeholder" hidden="1">
            <a:extLst>
              <a:ext uri="{FF2B5EF4-FFF2-40B4-BE49-F238E27FC236}">
                <a16:creationId xmlns:a16="http://schemas.microsoft.com/office/drawing/2014/main" id="{4D268FD3-4056-49DC-8C79-D4C201EED65B}"/>
              </a:ext>
            </a:extLst>
          </p:cNvPr>
          <p:cNvSpPr>
            <a:spLocks noGrp="1"/>
          </p:cNvSpPr>
          <p:nvPr>
            <p:ph type="ftr" sz="quarter" idx="3"/>
            <p:custDataLst>
              <p:tags r:id="rId21"/>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a:p>
        </p:txBody>
      </p:sp>
      <p:sp>
        <p:nvSpPr>
          <p:cNvPr id="6" name="Date Placeholder" hidden="1">
            <a:extLst>
              <a:ext uri="{FF2B5EF4-FFF2-40B4-BE49-F238E27FC236}">
                <a16:creationId xmlns:a16="http://schemas.microsoft.com/office/drawing/2014/main" id="{59032602-9911-40B1-9BF6-AFD731868C06}"/>
              </a:ext>
            </a:extLst>
          </p:cNvPr>
          <p:cNvSpPr>
            <a:spLocks noGrp="1"/>
          </p:cNvSpPr>
          <p:nvPr>
            <p:ph type="dt" sz="half" idx="2"/>
            <p:custDataLst>
              <p:tags r:id="rId22"/>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b="1"/>
          </a:p>
        </p:txBody>
      </p:sp>
      <p:sp>
        <p:nvSpPr>
          <p:cNvPr id="15" name="Title"/>
          <p:cNvSpPr>
            <a:spLocks noGrp="1"/>
          </p:cNvSpPr>
          <p:nvPr>
            <p:ph type="title"/>
          </p:nvPr>
        </p:nvSpPr>
        <p:spPr>
          <a:xfrm>
            <a:off x="335360" y="188720"/>
            <a:ext cx="9613068" cy="720000"/>
          </a:xfrm>
          <a:prstGeom prst="rect">
            <a:avLst/>
          </a:prstGeom>
        </p:spPr>
        <p:txBody>
          <a:bodyPr vert="horz" lIns="0" tIns="0" rIns="0" bIns="10800" rtlCol="0" anchor="b" anchorCtr="0">
            <a:noAutofit/>
          </a:bodyPr>
          <a:lstStyle/>
          <a:p>
            <a:r>
              <a:rPr lang="en-US" noProof="0"/>
              <a:t>Click to edit title</a:t>
            </a:r>
          </a:p>
        </p:txBody>
      </p:sp>
      <p:sp>
        <p:nvSpPr>
          <p:cNvPr id="16" name="Content"/>
          <p:cNvSpPr>
            <a:spLocks noGrp="1"/>
          </p:cNvSpPr>
          <p:nvPr>
            <p:ph type="body" idx="1"/>
          </p:nvPr>
        </p:nvSpPr>
        <p:spPr>
          <a:xfrm>
            <a:off x="334434" y="1268414"/>
            <a:ext cx="11521017" cy="5113337"/>
          </a:xfrm>
          <a:prstGeom prst="rect">
            <a:avLst/>
          </a:prstGeom>
        </p:spPr>
        <p:txBody>
          <a:bodyPr vert="horz" lIns="0" tIns="0" rIns="0" bIns="0" rtlCol="0">
            <a:noAutofit/>
          </a:body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3" name="empower - DO NOT DELETE!!!" hidden="1"/>
          <p:cNvSpPr/>
          <p:nvPr userDrawn="1">
            <p:custDataLst>
              <p:tags r:id="rId23"/>
            </p:custDataLst>
          </p:nvPr>
        </p:nvSpPr>
        <p:spPr bwMode="auto">
          <a:xfrm>
            <a:off x="0" y="0"/>
            <a:ext cx="0" cy="0"/>
          </a:xfrm>
          <a:prstGeom prst="ellipse">
            <a:avLst/>
          </a:prstGeom>
          <a:solidFill>
            <a:schemeClr val="accent4"/>
          </a:solidFill>
          <a:ln w="9525">
            <a:noFill/>
            <a:miter lim="800000"/>
            <a:headEnd/>
            <a:tailEnd/>
          </a:ln>
        </p:spPr>
        <p:txBody>
          <a:bodyPr wrap="square" lIns="72000" tIns="72000" rIns="72000" bIns="72000" rtlCol="0" anchor="ctr"/>
          <a:lstStyle/>
          <a:p>
            <a:pPr lvl="0" algn="ctr" eaLnBrk="0" hangingPunct="0"/>
            <a:endParaRPr lang="en-US" sz="1600" baseline="0" noProof="0">
              <a:latin typeface="+mn-lt"/>
              <a:ea typeface="+mn-ea"/>
              <a:cs typeface="+mn-cs"/>
            </a:endParaRPr>
          </a:p>
        </p:txBody>
      </p:sp>
      <p:sp>
        <p:nvSpPr>
          <p:cNvPr id="4" name="Fixed Page Placeholder">
            <a:extLst>
              <a:ext uri="{FF2B5EF4-FFF2-40B4-BE49-F238E27FC236}">
                <a16:creationId xmlns:a16="http://schemas.microsoft.com/office/drawing/2014/main" id="{E361B9A9-2219-4F44-982D-701D7F2A6185}"/>
              </a:ext>
            </a:extLst>
          </p:cNvPr>
          <p:cNvSpPr txBox="1"/>
          <p:nvPr userDrawn="1"/>
        </p:nvSpPr>
        <p:spPr bwMode="auto">
          <a:xfrm>
            <a:off x="11471403" y="6489341"/>
            <a:ext cx="384048" cy="361460"/>
          </a:xfrm>
          <a:prstGeom prst="rect">
            <a:avLst/>
          </a:prstGeom>
          <a:noFill/>
          <a:ln w="9525">
            <a:noFill/>
            <a:miter lim="800000"/>
            <a:headEnd/>
            <a:tailEnd/>
          </a:ln>
          <a:effectLst/>
        </p:spPr>
        <p:txBody>
          <a:bodyPr wrap="square" lIns="0" tIns="0" rIns="0" bIns="0" rtlCol="0" anchor="ctr" anchorCtr="0">
            <a:noAutofit/>
          </a:bodyPr>
          <a:lstStyle/>
          <a:p>
            <a:pPr marL="0" marR="0" indent="0" algn="r" defTabSz="576000" eaLnBrk="0" fontAlgn="auto" latinLnBrk="0" hangingPunct="0">
              <a:spcBef>
                <a:spcPts val="0"/>
              </a:spcBef>
              <a:spcAft>
                <a:spcPts val="0"/>
              </a:spcAft>
              <a:buClr>
                <a:schemeClr val="accent1"/>
              </a:buClr>
              <a:buSzTx/>
              <a:buFontTx/>
              <a:buNone/>
              <a:tabLst/>
            </a:pPr>
            <a:fld id="{AE05A9AF-4D70-4052-9354-7E4D957B036D}" type="slidenum">
              <a:rPr lang="de-DE" sz="800" b="1" kern="0" baseline="0">
                <a:solidFill>
                  <a:schemeClr val="tx1"/>
                </a:solidFill>
                <a:latin typeface="+mn-lt"/>
                <a:ea typeface="+mn-ea"/>
                <a:cs typeface="+mn-cs"/>
              </a:rPr>
              <a:pPr marL="0" marR="0" indent="0" algn="r" defTabSz="576000" eaLnBrk="0" fontAlgn="auto" latinLnBrk="0" hangingPunct="0">
                <a:spcBef>
                  <a:spcPts val="0"/>
                </a:spcBef>
                <a:spcAft>
                  <a:spcPts val="0"/>
                </a:spcAft>
                <a:buClr>
                  <a:schemeClr val="accent1"/>
                </a:buClr>
                <a:buSzTx/>
                <a:buFontTx/>
                <a:buNone/>
                <a:tabLst/>
              </a:pPr>
              <a:t>‹#›</a:t>
            </a:fld>
            <a:endParaRPr lang="de-DE" sz="800" b="1" kern="0" baseline="0">
              <a:solidFill>
                <a:schemeClr val="tx1"/>
              </a:solidFill>
              <a:latin typeface="+mn-lt"/>
              <a:ea typeface="+mn-ea"/>
              <a:cs typeface="+mn-cs"/>
            </a:endParaRPr>
          </a:p>
        </p:txBody>
      </p:sp>
      <p:pic>
        <p:nvPicPr>
          <p:cNvPr id="10" name="LOGO">
            <a:extLst>
              <a:ext uri="{FF2B5EF4-FFF2-40B4-BE49-F238E27FC236}">
                <a16:creationId xmlns:a16="http://schemas.microsoft.com/office/drawing/2014/main" id="{F0C8D1F1-BA28-4973-A394-021D3C969BE1}"/>
              </a:ext>
            </a:extLst>
          </p:cNvPr>
          <p:cNvPicPr>
            <a:picLocks noChangeAspect="1"/>
          </p:cNvPicPr>
          <p:nvPr userDrawn="1"/>
        </p:nvPicPr>
        <p:blipFill>
          <a:blip r:embed="rId24">
            <a:extLst>
              <a:ext uri="{28A0092B-C50C-407E-A947-70E740481C1C}">
                <a14:useLocalDpi xmlns:a14="http://schemas.microsoft.com/office/drawing/2010/main" val="0"/>
              </a:ext>
            </a:extLst>
          </a:blip>
          <a:srcRect/>
          <a:stretch/>
        </p:blipFill>
        <p:spPr>
          <a:xfrm>
            <a:off x="10128448" y="260648"/>
            <a:ext cx="1891249" cy="556708"/>
          </a:xfrm>
          <a:prstGeom prst="rect">
            <a:avLst/>
          </a:prstGeom>
        </p:spPr>
      </p:pic>
    </p:spTree>
  </p:cSld>
  <p:clrMap bg1="lt1" tx1="dk1" bg2="lt2" tx2="dk2" accent1="accent1" accent2="accent2" accent3="accent3" accent4="accent4" accent5="accent5" accent6="accent6" hlink="hlink" folHlink="folHlink"/>
  <p:sldLayoutIdLst>
    <p:sldLayoutId id="2147483744" r:id="rId1"/>
    <p:sldLayoutId id="2147483755" r:id="rId2"/>
    <p:sldLayoutId id="2147483751" r:id="rId3"/>
    <p:sldLayoutId id="2147483729" r:id="rId4"/>
    <p:sldLayoutId id="2147483730" r:id="rId5"/>
    <p:sldLayoutId id="2147483731" r:id="rId6"/>
    <p:sldLayoutId id="2147483747" r:id="rId7"/>
    <p:sldLayoutId id="2147483756"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54" r:id="rId17"/>
    <p:sldLayoutId id="2147483753" r:id="rId18"/>
  </p:sldLayoutIdLst>
  <p:hf hdr="0" dt="0"/>
  <p:txStyles>
    <p:titleStyle>
      <a:lvl1pPr algn="l" defTabSz="576000" rtl="0" eaLnBrk="1" fontAlgn="base" hangingPunct="1">
        <a:spcBef>
          <a:spcPct val="0"/>
        </a:spcBef>
        <a:spcAft>
          <a:spcPct val="0"/>
        </a:spcAft>
        <a:buClr>
          <a:schemeClr val="tx1"/>
        </a:buClr>
        <a:buFontTx/>
        <a:buNone/>
        <a:defRPr sz="2800" b="1"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p:titleStyle>
    <p:bodyStyle>
      <a:lvl1pPr marL="252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2000" baseline="0">
          <a:solidFill>
            <a:schemeClr val="tx1"/>
          </a:solidFill>
          <a:latin typeface="+mn-lt"/>
          <a:ea typeface="+mn-ea"/>
          <a:cs typeface="+mn-cs"/>
        </a:defRPr>
      </a:lvl1pPr>
      <a:lvl2pPr marL="504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800">
          <a:solidFill>
            <a:schemeClr val="tx1"/>
          </a:solidFill>
          <a:latin typeface="+mn-lt"/>
          <a:cs typeface="+mn-cs"/>
        </a:defRPr>
      </a:lvl2pPr>
      <a:lvl3pPr marL="756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600" baseline="0">
          <a:solidFill>
            <a:schemeClr val="tx1"/>
          </a:solidFill>
          <a:latin typeface="+mn-lt"/>
          <a:cs typeface="+mn-cs"/>
        </a:defRPr>
      </a:lvl3pPr>
      <a:lvl4pPr marL="1008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600" baseline="0">
          <a:solidFill>
            <a:schemeClr val="tx1"/>
          </a:solidFill>
          <a:latin typeface="+mn-lt"/>
          <a:cs typeface="+mn-cs"/>
        </a:defRPr>
      </a:lvl4pPr>
      <a:lvl5pPr marL="1260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600" baseline="0">
          <a:solidFill>
            <a:schemeClr val="tx1"/>
          </a:solidFill>
          <a:latin typeface="+mn-lt"/>
          <a:cs typeface="+mn-cs"/>
        </a:defRPr>
      </a:lvl5pPr>
      <a:lvl6pPr marL="1260000" indent="-252000" algn="l" defTabSz="576000" rtl="0" eaLnBrk="1" fontAlgn="base" hangingPunct="1">
        <a:lnSpc>
          <a:spcPct val="120000"/>
        </a:lnSpc>
        <a:spcBef>
          <a:spcPts val="0"/>
        </a:spcBef>
        <a:spcAft>
          <a:spcPts val="0"/>
        </a:spcAft>
        <a:buClr>
          <a:schemeClr val="tx2"/>
        </a:buClr>
        <a:buFont typeface="Arial" panose="020B0604020202020204" pitchFamily="34" charset="0"/>
        <a:buChar char="‒"/>
        <a:defRPr sz="1600" baseline="0">
          <a:solidFill>
            <a:schemeClr val="tx1"/>
          </a:solidFill>
          <a:latin typeface="+mn-lt"/>
          <a:cs typeface="+mn-cs"/>
        </a:defRPr>
      </a:lvl6pPr>
      <a:lvl7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600">
          <a:solidFill>
            <a:schemeClr val="tx1"/>
          </a:solidFill>
          <a:latin typeface="+mn-lt"/>
          <a:cs typeface="+mn-cs"/>
        </a:defRPr>
      </a:lvl7pPr>
      <a:lvl8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600">
          <a:solidFill>
            <a:schemeClr val="tx1"/>
          </a:solidFill>
          <a:latin typeface="+mn-lt"/>
          <a:cs typeface="+mn-cs"/>
        </a:defRPr>
      </a:lvl8pPr>
      <a:lvl9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600">
          <a:solidFill>
            <a:schemeClr val="tx1"/>
          </a:solidFill>
          <a:latin typeface="+mn-lt"/>
          <a:cs typeface="+mn-cs"/>
        </a:defRPr>
      </a:lvl9pPr>
    </p:bodyStyle>
    <p:otherStyle>
      <a:defPPr>
        <a:defRPr lang="de-DE"/>
      </a:defPPr>
      <a:lvl1pPr marL="0" algn="l" defTabSz="1219170" rtl="0" eaLnBrk="1" latinLnBrk="0" hangingPunct="1">
        <a:defRPr sz="1800" kern="1200">
          <a:solidFill>
            <a:schemeClr val="tx1"/>
          </a:solidFill>
          <a:latin typeface="+mn-lt"/>
          <a:ea typeface="+mn-ea"/>
          <a:cs typeface="+mn-cs"/>
        </a:defRPr>
      </a:lvl1pPr>
      <a:lvl2pPr marL="609585" algn="l" defTabSz="1219170" rtl="0" eaLnBrk="1" latinLnBrk="0" hangingPunct="1">
        <a:defRPr sz="1800" kern="1200">
          <a:solidFill>
            <a:schemeClr val="tx1"/>
          </a:solidFill>
          <a:latin typeface="+mn-lt"/>
          <a:ea typeface="+mn-ea"/>
          <a:cs typeface="+mn-cs"/>
        </a:defRPr>
      </a:lvl2pPr>
      <a:lvl3pPr marL="1219170" algn="l" defTabSz="1219170" rtl="0" eaLnBrk="1" latinLnBrk="0" hangingPunct="1">
        <a:defRPr sz="1800" kern="1200">
          <a:solidFill>
            <a:schemeClr val="tx1"/>
          </a:solidFill>
          <a:latin typeface="+mn-lt"/>
          <a:ea typeface="+mn-ea"/>
          <a:cs typeface="+mn-cs"/>
        </a:defRPr>
      </a:lvl3pPr>
      <a:lvl4pPr marL="1828754" algn="l" defTabSz="1219170" rtl="0" eaLnBrk="1" latinLnBrk="0" hangingPunct="1">
        <a:defRPr sz="1800" kern="1200">
          <a:solidFill>
            <a:schemeClr val="tx1"/>
          </a:solidFill>
          <a:latin typeface="+mn-lt"/>
          <a:ea typeface="+mn-ea"/>
          <a:cs typeface="+mn-cs"/>
        </a:defRPr>
      </a:lvl4pPr>
      <a:lvl5pPr marL="2438339" algn="l" defTabSz="1219170" rtl="0" eaLnBrk="1" latinLnBrk="0" hangingPunct="1">
        <a:defRPr sz="1800" kern="1200">
          <a:solidFill>
            <a:schemeClr val="tx1"/>
          </a:solidFill>
          <a:latin typeface="+mn-lt"/>
          <a:ea typeface="+mn-ea"/>
          <a:cs typeface="+mn-cs"/>
        </a:defRPr>
      </a:lvl5pPr>
      <a:lvl6pPr marL="3047924" algn="l" defTabSz="1219170" rtl="0" eaLnBrk="1" latinLnBrk="0" hangingPunct="1">
        <a:defRPr sz="1800" kern="1200">
          <a:solidFill>
            <a:schemeClr val="tx1"/>
          </a:solidFill>
          <a:latin typeface="+mn-lt"/>
          <a:ea typeface="+mn-ea"/>
          <a:cs typeface="+mn-cs"/>
        </a:defRPr>
      </a:lvl6pPr>
      <a:lvl7pPr marL="3657509" algn="l" defTabSz="1219170" rtl="0" eaLnBrk="1" latinLnBrk="0" hangingPunct="1">
        <a:defRPr sz="1800" kern="1200">
          <a:solidFill>
            <a:schemeClr val="tx1"/>
          </a:solidFill>
          <a:latin typeface="+mn-lt"/>
          <a:ea typeface="+mn-ea"/>
          <a:cs typeface="+mn-cs"/>
        </a:defRPr>
      </a:lvl7pPr>
      <a:lvl8pPr marL="4267093" algn="l" defTabSz="1219170" rtl="0" eaLnBrk="1" latinLnBrk="0" hangingPunct="1">
        <a:defRPr sz="1800" kern="1200">
          <a:solidFill>
            <a:schemeClr val="tx1"/>
          </a:solidFill>
          <a:latin typeface="+mn-lt"/>
          <a:ea typeface="+mn-ea"/>
          <a:cs typeface="+mn-cs"/>
        </a:defRPr>
      </a:lvl8pPr>
      <a:lvl9pPr marL="4876678" algn="l" defTabSz="121917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CF2770-3E62-C44F-5AF9-E20B263C8B4A}"/>
            </a:ext>
          </a:extLst>
        </p:cNvPr>
        <p:cNvGrpSpPr/>
        <p:nvPr/>
      </p:nvGrpSpPr>
      <p:grpSpPr>
        <a:xfrm>
          <a:off x="0" y="0"/>
          <a:ext cx="0" cy="0"/>
          <a:chOff x="0" y="0"/>
          <a:chExt cx="0" cy="0"/>
        </a:xfrm>
      </p:grpSpPr>
      <p:sp>
        <p:nvSpPr>
          <p:cNvPr id="3" name="Subtitle 2">
            <a:extLst>
              <a:ext uri="{FF2B5EF4-FFF2-40B4-BE49-F238E27FC236}">
                <a16:creationId xmlns:a16="http://schemas.microsoft.com/office/drawing/2014/main" id="{3BA6F465-3916-8773-B818-BD758E4B9CA7}"/>
              </a:ext>
            </a:extLst>
          </p:cNvPr>
          <p:cNvSpPr>
            <a:spLocks noGrp="1"/>
          </p:cNvSpPr>
          <p:nvPr>
            <p:ph type="subTitle" idx="1"/>
          </p:nvPr>
        </p:nvSpPr>
        <p:spPr/>
        <p:txBody>
          <a:bodyPr/>
          <a:lstStyle/>
          <a:p>
            <a:r>
              <a:rPr lang="en-US" dirty="0"/>
              <a:t>Berkay Ipek – </a:t>
            </a:r>
            <a:r>
              <a:rPr lang="en-US" dirty="0" err="1"/>
              <a:t>ARPLab</a:t>
            </a:r>
            <a:br>
              <a:rPr lang="en-US" dirty="0"/>
            </a:br>
            <a:r>
              <a:rPr lang="en-US" dirty="0"/>
              <a:t>02/10/2025</a:t>
            </a:r>
          </a:p>
        </p:txBody>
      </p:sp>
      <p:sp>
        <p:nvSpPr>
          <p:cNvPr id="2" name="Title 1">
            <a:extLst>
              <a:ext uri="{FF2B5EF4-FFF2-40B4-BE49-F238E27FC236}">
                <a16:creationId xmlns:a16="http://schemas.microsoft.com/office/drawing/2014/main" id="{F7D21872-DAF6-60D9-A8C6-43FAC7589705}"/>
              </a:ext>
            </a:extLst>
          </p:cNvPr>
          <p:cNvSpPr>
            <a:spLocks noGrp="1"/>
          </p:cNvSpPr>
          <p:nvPr>
            <p:ph type="title"/>
          </p:nvPr>
        </p:nvSpPr>
        <p:spPr>
          <a:xfrm>
            <a:off x="624001" y="4171327"/>
            <a:ext cx="8280000" cy="1119600"/>
          </a:xfrm>
        </p:spPr>
        <p:txBody>
          <a:bodyPr>
            <a:normAutofit/>
          </a:bodyPr>
          <a:lstStyle/>
          <a:p>
            <a:r>
              <a:rPr lang="en-US" dirty="0"/>
              <a:t>Biweekly Update Presentation 06</a:t>
            </a:r>
          </a:p>
        </p:txBody>
      </p:sp>
      <p:sp>
        <p:nvSpPr>
          <p:cNvPr id="5" name="Footer Placeholder 4">
            <a:extLst>
              <a:ext uri="{FF2B5EF4-FFF2-40B4-BE49-F238E27FC236}">
                <a16:creationId xmlns:a16="http://schemas.microsoft.com/office/drawing/2014/main" id="{13D45AC4-D753-C7C1-7012-F2EC9F1C431E}"/>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2529181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C07C9-9F83-E32B-6837-30BA41CFC6A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7EBCA70-9F12-4739-916D-55FC86E44631}"/>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Quantization :</a:t>
            </a:r>
            <a:br>
              <a:rPr lang="en-US" sz="3600" dirty="0"/>
            </a:br>
            <a:r>
              <a:rPr lang="en-US" sz="3600" dirty="0"/>
              <a:t>Results</a:t>
            </a:r>
          </a:p>
        </p:txBody>
      </p:sp>
    </p:spTree>
    <p:extLst>
      <p:ext uri="{BB962C8B-B14F-4D97-AF65-F5344CB8AC3E}">
        <p14:creationId xmlns:p14="http://schemas.microsoft.com/office/powerpoint/2010/main" val="17867036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9A5150-7DCF-9EED-4D7D-2D3FB0F1693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964D54E-FD7E-3A30-6291-F3FE1A1234E3}"/>
              </a:ext>
            </a:extLst>
          </p:cNvPr>
          <p:cNvSpPr>
            <a:spLocks noGrp="1"/>
          </p:cNvSpPr>
          <p:nvPr>
            <p:ph type="title"/>
          </p:nvPr>
        </p:nvSpPr>
        <p:spPr/>
        <p:txBody>
          <a:bodyPr/>
          <a:lstStyle/>
          <a:p>
            <a:r>
              <a:rPr lang="en-US" dirty="0"/>
              <a:t>Quantization – Results – 10-bit ADC</a:t>
            </a:r>
            <a:endParaRPr lang="tr-TR" dirty="0"/>
          </a:p>
        </p:txBody>
      </p:sp>
      <p:sp>
        <p:nvSpPr>
          <p:cNvPr id="4" name="Footer Placeholder 3">
            <a:extLst>
              <a:ext uri="{FF2B5EF4-FFF2-40B4-BE49-F238E27FC236}">
                <a16:creationId xmlns:a16="http://schemas.microsoft.com/office/drawing/2014/main" id="{16308E6F-0AD8-89BD-8659-F38204C226DC}"/>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FF602882-C2BB-3573-E5D9-3171549D9FA3}"/>
              </a:ext>
            </a:extLst>
          </p:cNvPr>
          <p:cNvSpPr>
            <a:spLocks noGrp="1"/>
          </p:cNvSpPr>
          <p:nvPr>
            <p:ph type="sldNum" sz="quarter" idx="16"/>
          </p:nvPr>
        </p:nvSpPr>
        <p:spPr/>
        <p:txBody>
          <a:bodyPr/>
          <a:lstStyle/>
          <a:p>
            <a:r>
              <a:rPr lang="en-US"/>
              <a:t> </a:t>
            </a:r>
          </a:p>
        </p:txBody>
      </p:sp>
      <p:pic>
        <p:nvPicPr>
          <p:cNvPr id="8" name="Content Placeholder 7" descr="A graph showing different values&#10;&#10;AI-generated content may be incorrect.">
            <a:extLst>
              <a:ext uri="{FF2B5EF4-FFF2-40B4-BE49-F238E27FC236}">
                <a16:creationId xmlns:a16="http://schemas.microsoft.com/office/drawing/2014/main" id="{0CCD5563-8FC3-396C-E5FC-08A8D8768B88}"/>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rcRect t="11149"/>
          <a:stretch>
            <a:fillRect/>
          </a:stretch>
        </p:blipFill>
        <p:spPr>
          <a:xfrm>
            <a:off x="408996" y="1147661"/>
            <a:ext cx="11374007" cy="4883488"/>
          </a:xfrm>
        </p:spPr>
      </p:pic>
    </p:spTree>
    <p:extLst>
      <p:ext uri="{BB962C8B-B14F-4D97-AF65-F5344CB8AC3E}">
        <p14:creationId xmlns:p14="http://schemas.microsoft.com/office/powerpoint/2010/main" val="2737468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0D5259-A40E-E9A1-A904-054CAC755B8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1BD45AA-9762-9728-1811-8800C8D0F431}"/>
              </a:ext>
            </a:extLst>
          </p:cNvPr>
          <p:cNvSpPr>
            <a:spLocks noGrp="1"/>
          </p:cNvSpPr>
          <p:nvPr>
            <p:ph type="title"/>
          </p:nvPr>
        </p:nvSpPr>
        <p:spPr/>
        <p:txBody>
          <a:bodyPr/>
          <a:lstStyle/>
          <a:p>
            <a:r>
              <a:rPr lang="en-US" dirty="0"/>
              <a:t>Quantization – Results – 12-bit ADC</a:t>
            </a:r>
            <a:endParaRPr lang="tr-TR" dirty="0"/>
          </a:p>
        </p:txBody>
      </p:sp>
      <p:sp>
        <p:nvSpPr>
          <p:cNvPr id="4" name="Footer Placeholder 3">
            <a:extLst>
              <a:ext uri="{FF2B5EF4-FFF2-40B4-BE49-F238E27FC236}">
                <a16:creationId xmlns:a16="http://schemas.microsoft.com/office/drawing/2014/main" id="{2A6C1A62-E8C0-59EB-D457-9F7836C0919D}"/>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E522BEA5-1B00-EB70-2ABD-CDAE897AB964}"/>
              </a:ext>
            </a:extLst>
          </p:cNvPr>
          <p:cNvSpPr>
            <a:spLocks noGrp="1"/>
          </p:cNvSpPr>
          <p:nvPr>
            <p:ph type="sldNum" sz="quarter" idx="16"/>
          </p:nvPr>
        </p:nvSpPr>
        <p:spPr/>
        <p:txBody>
          <a:bodyPr/>
          <a:lstStyle/>
          <a:p>
            <a:r>
              <a:rPr lang="en-US"/>
              <a:t> </a:t>
            </a:r>
          </a:p>
        </p:txBody>
      </p:sp>
      <p:pic>
        <p:nvPicPr>
          <p:cNvPr id="9" name="Content Placeholder 8" descr="A graph of a graph&#10;&#10;AI-generated content may be incorrect.">
            <a:extLst>
              <a:ext uri="{FF2B5EF4-FFF2-40B4-BE49-F238E27FC236}">
                <a16:creationId xmlns:a16="http://schemas.microsoft.com/office/drawing/2014/main" id="{98D5ECEC-23D3-5825-1AF2-B1B3F0713086}"/>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rcRect t="10959"/>
          <a:stretch>
            <a:fillRect/>
          </a:stretch>
        </p:blipFill>
        <p:spPr>
          <a:xfrm>
            <a:off x="556726" y="1201162"/>
            <a:ext cx="11078547" cy="4849441"/>
          </a:xfrm>
        </p:spPr>
      </p:pic>
    </p:spTree>
    <p:extLst>
      <p:ext uri="{BB962C8B-B14F-4D97-AF65-F5344CB8AC3E}">
        <p14:creationId xmlns:p14="http://schemas.microsoft.com/office/powerpoint/2010/main" val="2501866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0BEE63-F5A5-CE65-8D54-CF4FBB5E4DF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07C2DB1-FFC3-63E2-42BF-3C3FE9F89237}"/>
              </a:ext>
            </a:extLst>
          </p:cNvPr>
          <p:cNvSpPr>
            <a:spLocks noGrp="1"/>
          </p:cNvSpPr>
          <p:nvPr>
            <p:ph type="title"/>
          </p:nvPr>
        </p:nvSpPr>
        <p:spPr/>
        <p:txBody>
          <a:bodyPr/>
          <a:lstStyle/>
          <a:p>
            <a:r>
              <a:rPr lang="en-US" dirty="0"/>
              <a:t>Quantization – Results – 14-bit ADC</a:t>
            </a:r>
            <a:endParaRPr lang="tr-TR" dirty="0"/>
          </a:p>
        </p:txBody>
      </p:sp>
      <p:sp>
        <p:nvSpPr>
          <p:cNvPr id="4" name="Footer Placeholder 3">
            <a:extLst>
              <a:ext uri="{FF2B5EF4-FFF2-40B4-BE49-F238E27FC236}">
                <a16:creationId xmlns:a16="http://schemas.microsoft.com/office/drawing/2014/main" id="{7B2FB5AA-29E3-21A5-863A-F02EA58BA9E2}"/>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A3EE9EA5-33FD-1B16-6378-DC63C45C5653}"/>
              </a:ext>
            </a:extLst>
          </p:cNvPr>
          <p:cNvSpPr>
            <a:spLocks noGrp="1"/>
          </p:cNvSpPr>
          <p:nvPr>
            <p:ph type="sldNum" sz="quarter" idx="16"/>
          </p:nvPr>
        </p:nvSpPr>
        <p:spPr/>
        <p:txBody>
          <a:bodyPr/>
          <a:lstStyle/>
          <a:p>
            <a:r>
              <a:rPr lang="en-US"/>
              <a:t> </a:t>
            </a:r>
          </a:p>
        </p:txBody>
      </p:sp>
      <p:pic>
        <p:nvPicPr>
          <p:cNvPr id="9" name="Content Placeholder 8" descr="A graph of a number of people&#10;&#10;AI-generated content may be incorrect.">
            <a:extLst>
              <a:ext uri="{FF2B5EF4-FFF2-40B4-BE49-F238E27FC236}">
                <a16:creationId xmlns:a16="http://schemas.microsoft.com/office/drawing/2014/main" id="{7C45562E-3410-F5A7-C91E-A6B47A314E8A}"/>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rcRect t="11149"/>
          <a:stretch>
            <a:fillRect/>
          </a:stretch>
        </p:blipFill>
        <p:spPr>
          <a:xfrm>
            <a:off x="358990" y="1047988"/>
            <a:ext cx="11474019" cy="4952797"/>
          </a:xfrm>
        </p:spPr>
      </p:pic>
    </p:spTree>
    <p:extLst>
      <p:ext uri="{BB962C8B-B14F-4D97-AF65-F5344CB8AC3E}">
        <p14:creationId xmlns:p14="http://schemas.microsoft.com/office/powerpoint/2010/main" val="8753200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65265-9400-6DFA-36C8-50BD09ACB49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6234CCF-6E3D-938F-3204-9B34BE6CC3FD}"/>
              </a:ext>
            </a:extLst>
          </p:cNvPr>
          <p:cNvSpPr>
            <a:spLocks noGrp="1"/>
          </p:cNvSpPr>
          <p:nvPr>
            <p:ph type="title"/>
          </p:nvPr>
        </p:nvSpPr>
        <p:spPr/>
        <p:txBody>
          <a:bodyPr/>
          <a:lstStyle/>
          <a:p>
            <a:r>
              <a:rPr lang="en-US" dirty="0"/>
              <a:t>Quantization – Results – 16-bit ADC</a:t>
            </a:r>
            <a:endParaRPr lang="tr-TR" dirty="0"/>
          </a:p>
        </p:txBody>
      </p:sp>
      <p:sp>
        <p:nvSpPr>
          <p:cNvPr id="4" name="Footer Placeholder 3">
            <a:extLst>
              <a:ext uri="{FF2B5EF4-FFF2-40B4-BE49-F238E27FC236}">
                <a16:creationId xmlns:a16="http://schemas.microsoft.com/office/drawing/2014/main" id="{6C7CCE96-3DEF-9284-1772-525981E9CA69}"/>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8E757C1D-B69C-B8F3-FE64-12DBC11E856D}"/>
              </a:ext>
            </a:extLst>
          </p:cNvPr>
          <p:cNvSpPr>
            <a:spLocks noGrp="1"/>
          </p:cNvSpPr>
          <p:nvPr>
            <p:ph type="sldNum" sz="quarter" idx="16"/>
          </p:nvPr>
        </p:nvSpPr>
        <p:spPr/>
        <p:txBody>
          <a:bodyPr/>
          <a:lstStyle/>
          <a:p>
            <a:r>
              <a:rPr lang="en-US"/>
              <a:t> </a:t>
            </a:r>
          </a:p>
        </p:txBody>
      </p:sp>
      <p:pic>
        <p:nvPicPr>
          <p:cNvPr id="9" name="Content Placeholder 8" descr="A graph with lines and dots&#10;&#10;AI-generated content may be incorrect.">
            <a:extLst>
              <a:ext uri="{FF2B5EF4-FFF2-40B4-BE49-F238E27FC236}">
                <a16:creationId xmlns:a16="http://schemas.microsoft.com/office/drawing/2014/main" id="{604A3159-A0C1-A072-D4B2-C632E6F7BB72}"/>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rcRect t="12101"/>
          <a:stretch>
            <a:fillRect/>
          </a:stretch>
        </p:blipFill>
        <p:spPr>
          <a:xfrm>
            <a:off x="175692" y="997008"/>
            <a:ext cx="11840616" cy="4863983"/>
          </a:xfrm>
        </p:spPr>
      </p:pic>
    </p:spTree>
    <p:extLst>
      <p:ext uri="{BB962C8B-B14F-4D97-AF65-F5344CB8AC3E}">
        <p14:creationId xmlns:p14="http://schemas.microsoft.com/office/powerpoint/2010/main" val="36234153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4890EB8-2892-41B5-A5ED-E2DF11C09C67}"/>
              </a:ext>
            </a:extLst>
          </p:cNvPr>
          <p:cNvSpPr>
            <a:spLocks noGrp="1"/>
          </p:cNvSpPr>
          <p:nvPr>
            <p:ph sz="quarter" idx="13"/>
          </p:nvPr>
        </p:nvSpPr>
        <p:spPr/>
        <p:txBody>
          <a:bodyPr/>
          <a:lstStyle/>
          <a:p>
            <a:r>
              <a:rPr lang="en-US" dirty="0"/>
              <a:t>Among the results, when the number of bits is 14 or higher, there is an enough separation between the quantized output and the input voltage signals at high frequencies, which is a requirement for proper calibration. The reason is that calibration is primarily needed at high frequencies, where higher-order harmonics become more dominant.</a:t>
            </a:r>
          </a:p>
          <a:p>
            <a:r>
              <a:rPr lang="en-US" dirty="0"/>
              <a:t>Therefore, we’ve decided to use a 14-bit quantized signal will be used during the calibration process.</a:t>
            </a:r>
          </a:p>
          <a:p>
            <a:r>
              <a:rPr lang="en-US" dirty="0"/>
              <a:t>The results for the calibration of quantized signals is present in the next slide:</a:t>
            </a:r>
            <a:endParaRPr lang="tr-TR" dirty="0"/>
          </a:p>
        </p:txBody>
      </p:sp>
      <p:sp>
        <p:nvSpPr>
          <p:cNvPr id="3" name="Title 2">
            <a:extLst>
              <a:ext uri="{FF2B5EF4-FFF2-40B4-BE49-F238E27FC236}">
                <a16:creationId xmlns:a16="http://schemas.microsoft.com/office/drawing/2014/main" id="{A5C922FE-5418-F11C-7260-F654EA977B4F}"/>
              </a:ext>
            </a:extLst>
          </p:cNvPr>
          <p:cNvSpPr>
            <a:spLocks noGrp="1"/>
          </p:cNvSpPr>
          <p:nvPr>
            <p:ph type="title"/>
          </p:nvPr>
        </p:nvSpPr>
        <p:spPr/>
        <p:txBody>
          <a:bodyPr/>
          <a:lstStyle/>
          <a:p>
            <a:r>
              <a:rPr lang="en-US" dirty="0"/>
              <a:t>Quantization – Results</a:t>
            </a:r>
            <a:endParaRPr lang="tr-TR" dirty="0"/>
          </a:p>
        </p:txBody>
      </p:sp>
      <p:sp>
        <p:nvSpPr>
          <p:cNvPr id="4" name="Footer Placeholder 3">
            <a:extLst>
              <a:ext uri="{FF2B5EF4-FFF2-40B4-BE49-F238E27FC236}">
                <a16:creationId xmlns:a16="http://schemas.microsoft.com/office/drawing/2014/main" id="{3807928D-5C18-BD56-7656-A0FF7666BC03}"/>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39071FFB-04FA-7786-C3D6-21B5965B06F4}"/>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4042966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F860C-6C0D-F95C-CEE7-E3500C30EE6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439375-0604-A24D-3565-D38CB1255D33}"/>
              </a:ext>
            </a:extLst>
          </p:cNvPr>
          <p:cNvSpPr>
            <a:spLocks noGrp="1"/>
          </p:cNvSpPr>
          <p:nvPr>
            <p:ph sz="quarter" idx="13"/>
          </p:nvPr>
        </p:nvSpPr>
        <p:spPr/>
        <p:txBody>
          <a:bodyPr/>
          <a:lstStyle/>
          <a:p>
            <a:r>
              <a:rPr lang="en-US" sz="8000" dirty="0"/>
              <a:t>ADD A NEW PLOT FOR THE CALIBRATION !!!!!</a:t>
            </a:r>
            <a:endParaRPr lang="tr-TR" sz="8000" dirty="0"/>
          </a:p>
        </p:txBody>
      </p:sp>
      <p:sp>
        <p:nvSpPr>
          <p:cNvPr id="3" name="Title 2">
            <a:extLst>
              <a:ext uri="{FF2B5EF4-FFF2-40B4-BE49-F238E27FC236}">
                <a16:creationId xmlns:a16="http://schemas.microsoft.com/office/drawing/2014/main" id="{963BB452-C668-0DE3-E2F9-1FEE9B666348}"/>
              </a:ext>
            </a:extLst>
          </p:cNvPr>
          <p:cNvSpPr>
            <a:spLocks noGrp="1"/>
          </p:cNvSpPr>
          <p:nvPr>
            <p:ph type="title"/>
          </p:nvPr>
        </p:nvSpPr>
        <p:spPr/>
        <p:txBody>
          <a:bodyPr/>
          <a:lstStyle/>
          <a:p>
            <a:r>
              <a:rPr lang="en-US" dirty="0"/>
              <a:t>Quantization – Results</a:t>
            </a:r>
            <a:endParaRPr lang="tr-TR" dirty="0"/>
          </a:p>
        </p:txBody>
      </p:sp>
      <p:sp>
        <p:nvSpPr>
          <p:cNvPr id="4" name="Footer Placeholder 3">
            <a:extLst>
              <a:ext uri="{FF2B5EF4-FFF2-40B4-BE49-F238E27FC236}">
                <a16:creationId xmlns:a16="http://schemas.microsoft.com/office/drawing/2014/main" id="{24E8DEC2-3613-BB6B-5673-5AC99055BF9D}"/>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15B05591-17F0-4325-DAD0-84AC1835D582}"/>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613168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BE927D6-3594-5313-9477-9C7713F8110B}"/>
              </a:ext>
            </a:extLst>
          </p:cNvPr>
          <p:cNvSpPr>
            <a:spLocks noGrp="1"/>
          </p:cNvSpPr>
          <p:nvPr>
            <p:ph sz="quarter" idx="13"/>
          </p:nvPr>
        </p:nvSpPr>
        <p:spPr/>
        <p:txBody>
          <a:bodyPr/>
          <a:lstStyle/>
          <a:p>
            <a:endParaRPr lang="tr-TR"/>
          </a:p>
        </p:txBody>
      </p:sp>
      <p:sp>
        <p:nvSpPr>
          <p:cNvPr id="3" name="Title 2">
            <a:extLst>
              <a:ext uri="{FF2B5EF4-FFF2-40B4-BE49-F238E27FC236}">
                <a16:creationId xmlns:a16="http://schemas.microsoft.com/office/drawing/2014/main" id="{DF6C2411-C4AF-4DBF-A711-A55307C25E01}"/>
              </a:ext>
            </a:extLst>
          </p:cNvPr>
          <p:cNvSpPr>
            <a:spLocks noGrp="1"/>
          </p:cNvSpPr>
          <p:nvPr>
            <p:ph type="title"/>
          </p:nvPr>
        </p:nvSpPr>
        <p:spPr/>
        <p:txBody>
          <a:bodyPr/>
          <a:lstStyle/>
          <a:p>
            <a:endParaRPr lang="tr-TR"/>
          </a:p>
        </p:txBody>
      </p:sp>
      <p:sp>
        <p:nvSpPr>
          <p:cNvPr id="4" name="Footer Placeholder 3">
            <a:extLst>
              <a:ext uri="{FF2B5EF4-FFF2-40B4-BE49-F238E27FC236}">
                <a16:creationId xmlns:a16="http://schemas.microsoft.com/office/drawing/2014/main" id="{FFE0735C-8F46-7942-4EF9-088A7E3F1DA8}"/>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71A58DB9-8779-4C98-AF40-D1F53116EDF3}"/>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31603011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1AEEC2-5175-3D41-FCB9-45434AA810B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88B0923-5B9E-E44A-2A80-255D345FD30F}"/>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Precision of Coefficients:</a:t>
            </a:r>
            <a:br>
              <a:rPr lang="en-US" sz="3600" dirty="0"/>
            </a:br>
            <a:r>
              <a:rPr lang="en-US" sz="3600" dirty="0"/>
              <a:t>Set up</a:t>
            </a:r>
          </a:p>
        </p:txBody>
      </p:sp>
    </p:spTree>
    <p:extLst>
      <p:ext uri="{BB962C8B-B14F-4D97-AF65-F5344CB8AC3E}">
        <p14:creationId xmlns:p14="http://schemas.microsoft.com/office/powerpoint/2010/main" val="30652832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C91E5-6BC6-8598-42F4-99ADD47A253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B5FCAD3-C65B-4BAC-8E18-DC436756BFA4}"/>
              </a:ext>
            </a:extLst>
          </p:cNvPr>
          <p:cNvSpPr>
            <a:spLocks noGrp="1"/>
          </p:cNvSpPr>
          <p:nvPr>
            <p:ph sz="quarter" idx="13"/>
          </p:nvPr>
        </p:nvSpPr>
        <p:spPr/>
        <p:txBody>
          <a:bodyPr/>
          <a:lstStyle/>
          <a:p>
            <a:r>
              <a:rPr lang="en-US" i="1" dirty="0"/>
              <a:t>Purpose</a:t>
            </a:r>
            <a:r>
              <a:rPr lang="en-US" dirty="0"/>
              <a:t>: .  </a:t>
            </a:r>
          </a:p>
          <a:p>
            <a:endParaRPr lang="en-US" dirty="0"/>
          </a:p>
          <a:p>
            <a:r>
              <a:rPr lang="en-US" i="1" dirty="0"/>
              <a:t>Step 1</a:t>
            </a:r>
            <a:r>
              <a:rPr lang="en-US" dirty="0"/>
              <a:t>: Take the signal of input and output waveforms @ 30 different frequencies.</a:t>
            </a:r>
          </a:p>
          <a:p>
            <a:r>
              <a:rPr lang="en-US" i="1" dirty="0"/>
              <a:t>Step 2</a:t>
            </a:r>
            <a:r>
              <a:rPr lang="en-US" dirty="0"/>
              <a:t>: Add a quantized signal based on 10-bits.</a:t>
            </a:r>
          </a:p>
          <a:p>
            <a:r>
              <a:rPr lang="en-US" i="1" dirty="0"/>
              <a:t>Step 3: </a:t>
            </a:r>
            <a:r>
              <a:rPr lang="en-US" dirty="0"/>
              <a:t>Calculate and store THD values for quantized and non-quantized signals.</a:t>
            </a:r>
          </a:p>
          <a:p>
            <a:r>
              <a:rPr lang="en-US" i="1" dirty="0"/>
              <a:t>Step 4: </a:t>
            </a:r>
            <a:r>
              <a:rPr lang="en-US" dirty="0"/>
              <a:t>Go to step 2 do it for (n=10,12,14,16).</a:t>
            </a:r>
            <a:endParaRPr lang="en-US" i="1" dirty="0"/>
          </a:p>
          <a:p>
            <a:r>
              <a:rPr lang="en-US" i="1" dirty="0"/>
              <a:t>Step 5: </a:t>
            </a:r>
            <a:r>
              <a:rPr lang="en-US" dirty="0"/>
              <a:t>Plot and compare all results.</a:t>
            </a:r>
          </a:p>
        </p:txBody>
      </p:sp>
      <p:sp>
        <p:nvSpPr>
          <p:cNvPr id="3" name="Title 2">
            <a:extLst>
              <a:ext uri="{FF2B5EF4-FFF2-40B4-BE49-F238E27FC236}">
                <a16:creationId xmlns:a16="http://schemas.microsoft.com/office/drawing/2014/main" id="{F117DDA4-B701-7502-DCC4-AFB609820857}"/>
              </a:ext>
            </a:extLst>
          </p:cNvPr>
          <p:cNvSpPr>
            <a:spLocks noGrp="1"/>
          </p:cNvSpPr>
          <p:nvPr>
            <p:ph type="title"/>
          </p:nvPr>
        </p:nvSpPr>
        <p:spPr/>
        <p:txBody>
          <a:bodyPr/>
          <a:lstStyle/>
          <a:p>
            <a:br>
              <a:rPr lang="en-US" dirty="0"/>
            </a:br>
            <a:r>
              <a:rPr lang="en-US" dirty="0"/>
              <a:t>Precision of Coefficients – Set Up</a:t>
            </a:r>
            <a:endParaRPr lang="tr-TR" dirty="0"/>
          </a:p>
        </p:txBody>
      </p:sp>
      <p:sp>
        <p:nvSpPr>
          <p:cNvPr id="4" name="Footer Placeholder 3">
            <a:extLst>
              <a:ext uri="{FF2B5EF4-FFF2-40B4-BE49-F238E27FC236}">
                <a16:creationId xmlns:a16="http://schemas.microsoft.com/office/drawing/2014/main" id="{7360B4FE-964A-27DE-C261-E2D18BF546F4}"/>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EBF936A1-BD98-2535-219C-28384074AC97}"/>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41274982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AC29BDC-7CB8-266E-07CF-D9D5D9169AC3}"/>
              </a:ext>
            </a:extLst>
          </p:cNvPr>
          <p:cNvSpPr>
            <a:spLocks noGrp="1"/>
          </p:cNvSpPr>
          <p:nvPr>
            <p:ph sz="quarter" idx="4294967295"/>
          </p:nvPr>
        </p:nvSpPr>
        <p:spPr>
          <a:xfrm>
            <a:off x="334800" y="1268414"/>
            <a:ext cx="11520000" cy="5113337"/>
          </a:xfrm>
        </p:spPr>
        <p:txBody>
          <a:bodyPr/>
          <a:lstStyle/>
          <a:p>
            <a:pPr>
              <a:lnSpc>
                <a:spcPct val="250000"/>
              </a:lnSpc>
            </a:pPr>
            <a:r>
              <a:rPr lang="en-US" dirty="0"/>
              <a:t>What is done</a:t>
            </a:r>
          </a:p>
          <a:p>
            <a:pPr lvl="1">
              <a:lnSpc>
                <a:spcPct val="250000"/>
              </a:lnSpc>
            </a:pPr>
            <a:r>
              <a:rPr lang="en-US" sz="1600" dirty="0"/>
              <a:t>Problem @ 2GHz (Solved)</a:t>
            </a:r>
          </a:p>
          <a:p>
            <a:pPr lvl="1">
              <a:lnSpc>
                <a:spcPct val="250000"/>
              </a:lnSpc>
            </a:pPr>
            <a:r>
              <a:rPr lang="en-US" sz="1600" dirty="0"/>
              <a:t>Quantization</a:t>
            </a:r>
          </a:p>
          <a:p>
            <a:pPr lvl="1">
              <a:lnSpc>
                <a:spcPct val="250000"/>
              </a:lnSpc>
            </a:pPr>
            <a:r>
              <a:rPr lang="en-US" sz="1600" dirty="0"/>
              <a:t>Precision of Coefficients</a:t>
            </a:r>
          </a:p>
          <a:p>
            <a:pPr>
              <a:lnSpc>
                <a:spcPct val="250000"/>
              </a:lnSpc>
            </a:pPr>
            <a:r>
              <a:rPr lang="en-US" dirty="0"/>
              <a:t>Plans for the next weeks</a:t>
            </a:r>
          </a:p>
          <a:p>
            <a:pPr lvl="1">
              <a:lnSpc>
                <a:spcPct val="250000"/>
              </a:lnSpc>
            </a:pPr>
            <a:r>
              <a:rPr lang="en-US" sz="1600" dirty="0"/>
              <a:t>Done all # of simulation points</a:t>
            </a:r>
          </a:p>
          <a:p>
            <a:pPr marL="252000" lvl="1" indent="0">
              <a:lnSpc>
                <a:spcPct val="250000"/>
              </a:lnSpc>
              <a:buNone/>
            </a:pPr>
            <a:endParaRPr lang="en-US" dirty="0"/>
          </a:p>
        </p:txBody>
      </p:sp>
      <p:sp>
        <p:nvSpPr>
          <p:cNvPr id="3" name="Title 2">
            <a:extLst>
              <a:ext uri="{FF2B5EF4-FFF2-40B4-BE49-F238E27FC236}">
                <a16:creationId xmlns:a16="http://schemas.microsoft.com/office/drawing/2014/main" id="{90D17616-C6F6-5E72-B3B8-B8737DA3DB23}"/>
              </a:ext>
            </a:extLst>
          </p:cNvPr>
          <p:cNvSpPr>
            <a:spLocks noGrp="1"/>
          </p:cNvSpPr>
          <p:nvPr>
            <p:ph type="title"/>
          </p:nvPr>
        </p:nvSpPr>
        <p:spPr/>
        <p:txBody>
          <a:bodyPr/>
          <a:lstStyle/>
          <a:p>
            <a:r>
              <a:rPr lang="en-US" dirty="0"/>
              <a:t>Outline</a:t>
            </a:r>
          </a:p>
        </p:txBody>
      </p:sp>
    </p:spTree>
    <p:extLst>
      <p:ext uri="{BB962C8B-B14F-4D97-AF65-F5344CB8AC3E}">
        <p14:creationId xmlns:p14="http://schemas.microsoft.com/office/powerpoint/2010/main" val="36012962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994C3DF-5D39-63A6-64C1-C3B238893F22}"/>
              </a:ext>
            </a:extLst>
          </p:cNvPr>
          <p:cNvSpPr>
            <a:spLocks noGrp="1"/>
          </p:cNvSpPr>
          <p:nvPr>
            <p:ph sz="quarter" idx="13"/>
          </p:nvPr>
        </p:nvSpPr>
        <p:spPr/>
        <p:txBody>
          <a:bodyPr/>
          <a:lstStyle/>
          <a:p>
            <a:endParaRPr lang="tr-TR"/>
          </a:p>
        </p:txBody>
      </p:sp>
      <p:sp>
        <p:nvSpPr>
          <p:cNvPr id="3" name="Title 2">
            <a:extLst>
              <a:ext uri="{FF2B5EF4-FFF2-40B4-BE49-F238E27FC236}">
                <a16:creationId xmlns:a16="http://schemas.microsoft.com/office/drawing/2014/main" id="{64F89DC6-245C-4B79-D4E0-CCEA4703C409}"/>
              </a:ext>
            </a:extLst>
          </p:cNvPr>
          <p:cNvSpPr>
            <a:spLocks noGrp="1"/>
          </p:cNvSpPr>
          <p:nvPr>
            <p:ph type="title"/>
          </p:nvPr>
        </p:nvSpPr>
        <p:spPr/>
        <p:txBody>
          <a:bodyPr/>
          <a:lstStyle/>
          <a:p>
            <a:endParaRPr lang="tr-TR"/>
          </a:p>
        </p:txBody>
      </p:sp>
      <p:sp>
        <p:nvSpPr>
          <p:cNvPr id="4" name="Footer Placeholder 3">
            <a:extLst>
              <a:ext uri="{FF2B5EF4-FFF2-40B4-BE49-F238E27FC236}">
                <a16:creationId xmlns:a16="http://schemas.microsoft.com/office/drawing/2014/main" id="{482B2DBE-50F7-2F16-0CDB-A7F93BF831AC}"/>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641D845A-2113-0D3D-3E79-CD4D513CDB51}"/>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38417736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4ED38F5-6AF9-E40E-A098-ABE8CC3B12E2}"/>
              </a:ext>
            </a:extLst>
          </p:cNvPr>
          <p:cNvSpPr>
            <a:spLocks noGrp="1"/>
          </p:cNvSpPr>
          <p:nvPr>
            <p:ph sz="quarter" idx="13"/>
          </p:nvPr>
        </p:nvSpPr>
        <p:spPr/>
        <p:txBody>
          <a:bodyPr/>
          <a:lstStyle/>
          <a:p>
            <a:r>
              <a:rPr lang="en-US" i="1" dirty="0"/>
              <a:t>Purpose</a:t>
            </a:r>
            <a:r>
              <a:rPr lang="en-US" dirty="0"/>
              <a:t>: Based on previous results, using a polynomial order of 9 and a memory order of 5 provides approximately -80 dB THD at 2 GHz, which matches our target. We need to verify whether this configuration is suitable for other frequencies as well. </a:t>
            </a:r>
          </a:p>
          <a:p>
            <a:endParaRPr lang="en-US" dirty="0"/>
          </a:p>
          <a:p>
            <a:r>
              <a:rPr lang="en-US" i="1" dirty="0"/>
              <a:t>Step 1</a:t>
            </a:r>
            <a:r>
              <a:rPr lang="en-US" dirty="0"/>
              <a:t>: Take the signal of input and output @ 1 GHz, 1.5GHz and 2 GHz.</a:t>
            </a:r>
          </a:p>
          <a:p>
            <a:r>
              <a:rPr lang="en-US" i="1" dirty="0"/>
              <a:t>Step 2</a:t>
            </a:r>
            <a:r>
              <a:rPr lang="en-US" dirty="0"/>
              <a:t>: Perform calibration with varying memory orders while keeping the polynomial order fixed at 9.</a:t>
            </a:r>
          </a:p>
          <a:p>
            <a:r>
              <a:rPr lang="en-US" i="1" dirty="0"/>
              <a:t>Step 3: </a:t>
            </a:r>
            <a:r>
              <a:rPr lang="en-US" dirty="0"/>
              <a:t>Calculate THD values for the input, output and calibrated waveforms.</a:t>
            </a:r>
          </a:p>
          <a:p>
            <a:r>
              <a:rPr lang="en-US" i="1" dirty="0"/>
              <a:t>Step 4: </a:t>
            </a:r>
            <a:r>
              <a:rPr lang="en-US" dirty="0"/>
              <a:t>Plot and compare all results in a plot.</a:t>
            </a:r>
            <a:endParaRPr lang="tr-TR" i="1" dirty="0"/>
          </a:p>
        </p:txBody>
      </p:sp>
      <p:sp>
        <p:nvSpPr>
          <p:cNvPr id="3" name="Title 2">
            <a:extLst>
              <a:ext uri="{FF2B5EF4-FFF2-40B4-BE49-F238E27FC236}">
                <a16:creationId xmlns:a16="http://schemas.microsoft.com/office/drawing/2014/main" id="{69DB8397-D680-60DA-E34B-6691C72CD10C}"/>
              </a:ext>
            </a:extLst>
          </p:cNvPr>
          <p:cNvSpPr>
            <a:spLocks noGrp="1"/>
          </p:cNvSpPr>
          <p:nvPr>
            <p:ph type="title"/>
          </p:nvPr>
        </p:nvSpPr>
        <p:spPr/>
        <p:txBody>
          <a:bodyPr/>
          <a:lstStyle/>
          <a:p>
            <a:br>
              <a:rPr lang="en-US" dirty="0"/>
            </a:br>
            <a:r>
              <a:rPr lang="en-US" dirty="0"/>
              <a:t>Final Checking – Set Up (Review)</a:t>
            </a:r>
            <a:endParaRPr lang="tr-TR" dirty="0"/>
          </a:p>
        </p:txBody>
      </p:sp>
      <p:sp>
        <p:nvSpPr>
          <p:cNvPr id="4" name="Footer Placeholder 3">
            <a:extLst>
              <a:ext uri="{FF2B5EF4-FFF2-40B4-BE49-F238E27FC236}">
                <a16:creationId xmlns:a16="http://schemas.microsoft.com/office/drawing/2014/main" id="{44762927-AD70-1481-F8CC-CA8CB7484AD9}"/>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64A93858-345E-5492-F15F-45CCF0A5C0DB}"/>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37193419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199691-C77C-9E14-607F-632E1775D92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E5368A0-3739-B0D9-D52A-EC5CADFC1461}"/>
              </a:ext>
            </a:extLst>
          </p:cNvPr>
          <p:cNvSpPr>
            <a:spLocks noGrp="1"/>
          </p:cNvSpPr>
          <p:nvPr>
            <p:ph type="title"/>
          </p:nvPr>
        </p:nvSpPr>
        <p:spPr/>
        <p:txBody>
          <a:bodyPr/>
          <a:lstStyle/>
          <a:p>
            <a:r>
              <a:rPr lang="en-US" dirty="0"/>
              <a:t>Final Checking – Results – Problem @ 2GHz (Review)</a:t>
            </a:r>
            <a:endParaRPr lang="tr-TR" dirty="0"/>
          </a:p>
        </p:txBody>
      </p:sp>
      <p:sp>
        <p:nvSpPr>
          <p:cNvPr id="4" name="Footer Placeholder 3">
            <a:extLst>
              <a:ext uri="{FF2B5EF4-FFF2-40B4-BE49-F238E27FC236}">
                <a16:creationId xmlns:a16="http://schemas.microsoft.com/office/drawing/2014/main" id="{C5E8562E-02D6-BE92-8C63-17E635184A08}"/>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E468F78A-239C-3AB1-D8ED-07185C57B124}"/>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72A8F1F7-2C6C-6960-AB81-82B1C06CC712}"/>
              </a:ext>
            </a:extLst>
          </p:cNvPr>
          <p:cNvSpPr>
            <a:spLocks noGrp="1"/>
          </p:cNvSpPr>
          <p:nvPr>
            <p:ph sz="quarter" idx="13"/>
          </p:nvPr>
        </p:nvSpPr>
        <p:spPr/>
        <p:txBody>
          <a:bodyPr/>
          <a:lstStyle/>
          <a:p>
            <a:r>
              <a:rPr lang="en-US" dirty="0"/>
              <a:t>Input Voltage Waveform @2GHz</a:t>
            </a:r>
            <a:endParaRPr lang="tr-TR" dirty="0"/>
          </a:p>
        </p:txBody>
      </p:sp>
      <p:pic>
        <p:nvPicPr>
          <p:cNvPr id="7" name="Picture 6" descr="A graph of a graph&#10;&#10;AI-generated content may be incorrect.">
            <a:extLst>
              <a:ext uri="{FF2B5EF4-FFF2-40B4-BE49-F238E27FC236}">
                <a16:creationId xmlns:a16="http://schemas.microsoft.com/office/drawing/2014/main" id="{2AEA353B-4FE8-539B-AAD2-B27A4D55AA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4800" y="1746324"/>
            <a:ext cx="11520000" cy="4922956"/>
          </a:xfrm>
          <a:prstGeom prst="rect">
            <a:avLst/>
          </a:prstGeom>
        </p:spPr>
      </p:pic>
      <p:cxnSp>
        <p:nvCxnSpPr>
          <p:cNvPr id="10" name="Straight Arrow Connector 9">
            <a:extLst>
              <a:ext uri="{FF2B5EF4-FFF2-40B4-BE49-F238E27FC236}">
                <a16:creationId xmlns:a16="http://schemas.microsoft.com/office/drawing/2014/main" id="{0290C82D-08F6-A8DA-98D3-58D8EF85FD1F}"/>
              </a:ext>
            </a:extLst>
          </p:cNvPr>
          <p:cNvCxnSpPr>
            <a:cxnSpLocks/>
          </p:cNvCxnSpPr>
          <p:nvPr/>
        </p:nvCxnSpPr>
        <p:spPr>
          <a:xfrm>
            <a:off x="8966681" y="3908753"/>
            <a:ext cx="2122851" cy="59809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65675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3351BF-9FF0-D4EC-4B03-AF5B58FA1B4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D7B96AA-378A-CAC4-6440-8D4839F472F5}"/>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Problem @ 2GHz :</a:t>
            </a:r>
            <a:br>
              <a:rPr lang="en-US" sz="3600" dirty="0"/>
            </a:br>
            <a:r>
              <a:rPr lang="en-US" sz="3600" dirty="0"/>
              <a:t>Solution #1 </a:t>
            </a:r>
            <a:br>
              <a:rPr lang="en-US" sz="3600" dirty="0"/>
            </a:br>
            <a:r>
              <a:rPr lang="en-US" sz="3600" dirty="0"/>
              <a:t>Changing Windowing</a:t>
            </a:r>
          </a:p>
        </p:txBody>
      </p:sp>
    </p:spTree>
    <p:extLst>
      <p:ext uri="{BB962C8B-B14F-4D97-AF65-F5344CB8AC3E}">
        <p14:creationId xmlns:p14="http://schemas.microsoft.com/office/powerpoint/2010/main" val="6975010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4CE605-B2AE-DECB-A4F8-983D46C8690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E30CE19-AE59-F88C-FBFE-6F3B93FB289F}"/>
              </a:ext>
            </a:extLst>
          </p:cNvPr>
          <p:cNvSpPr>
            <a:spLocks noGrp="1"/>
          </p:cNvSpPr>
          <p:nvPr>
            <p:ph sz="quarter" idx="13"/>
          </p:nvPr>
        </p:nvSpPr>
        <p:spPr/>
        <p:txBody>
          <a:bodyPr/>
          <a:lstStyle/>
          <a:p>
            <a:r>
              <a:rPr lang="en-US" i="1" dirty="0"/>
              <a:t>Purpose</a:t>
            </a:r>
            <a:r>
              <a:rPr lang="en-US" dirty="0"/>
              <a:t>: To eliminate 2 GHz, try to change the windowing </a:t>
            </a:r>
            <a:r>
              <a:rPr lang="en-US"/>
              <a:t>to . </a:t>
            </a:r>
            <a:endParaRPr lang="en-US" dirty="0"/>
          </a:p>
          <a:p>
            <a:endParaRPr lang="en-US" dirty="0"/>
          </a:p>
          <a:p>
            <a:r>
              <a:rPr lang="en-US" i="1" dirty="0"/>
              <a:t>Step 1</a:t>
            </a:r>
            <a:r>
              <a:rPr lang="en-US" dirty="0"/>
              <a:t>: Take the signal of input and output @ 1 GHz, 1.5GHz and 2 GHz.</a:t>
            </a:r>
          </a:p>
          <a:p>
            <a:r>
              <a:rPr lang="en-US" i="1" dirty="0"/>
              <a:t>Step 2</a:t>
            </a:r>
            <a:r>
              <a:rPr lang="en-US" dirty="0"/>
              <a:t>: Perform calibration with varying memory orders while keeping the polynomial order fixed at 9.</a:t>
            </a:r>
          </a:p>
          <a:p>
            <a:r>
              <a:rPr lang="en-US" i="1" dirty="0"/>
              <a:t>Step 3: </a:t>
            </a:r>
            <a:r>
              <a:rPr lang="en-US" dirty="0"/>
              <a:t>Calculate THD values for the input, output and calibrated waveforms.</a:t>
            </a:r>
          </a:p>
          <a:p>
            <a:r>
              <a:rPr lang="en-US" i="1" dirty="0"/>
              <a:t>Step 4: </a:t>
            </a:r>
            <a:r>
              <a:rPr lang="en-US" dirty="0"/>
              <a:t>Plot and compare all results in a plot.</a:t>
            </a:r>
            <a:endParaRPr lang="tr-TR" i="1" dirty="0"/>
          </a:p>
        </p:txBody>
      </p:sp>
      <p:sp>
        <p:nvSpPr>
          <p:cNvPr id="3" name="Title 2">
            <a:extLst>
              <a:ext uri="{FF2B5EF4-FFF2-40B4-BE49-F238E27FC236}">
                <a16:creationId xmlns:a16="http://schemas.microsoft.com/office/drawing/2014/main" id="{1EB0CBDD-3446-94E4-902B-750E76489C53}"/>
              </a:ext>
            </a:extLst>
          </p:cNvPr>
          <p:cNvSpPr>
            <a:spLocks noGrp="1"/>
          </p:cNvSpPr>
          <p:nvPr>
            <p:ph type="title"/>
          </p:nvPr>
        </p:nvSpPr>
        <p:spPr/>
        <p:txBody>
          <a:bodyPr/>
          <a:lstStyle/>
          <a:p>
            <a:br>
              <a:rPr lang="en-US" dirty="0"/>
            </a:br>
            <a:r>
              <a:rPr lang="en-US" dirty="0"/>
              <a:t>Final Checking – Set Up (Review)</a:t>
            </a:r>
            <a:endParaRPr lang="tr-TR" dirty="0"/>
          </a:p>
        </p:txBody>
      </p:sp>
      <p:sp>
        <p:nvSpPr>
          <p:cNvPr id="4" name="Footer Placeholder 3">
            <a:extLst>
              <a:ext uri="{FF2B5EF4-FFF2-40B4-BE49-F238E27FC236}">
                <a16:creationId xmlns:a16="http://schemas.microsoft.com/office/drawing/2014/main" id="{6A35FA3A-D765-43B6-CC11-53690EC006FA}"/>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5F8A8800-D173-119D-5B6A-D99757D9B0A3}"/>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27624612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37C9BE6-63AE-3906-F1D9-189BDF38C712}"/>
              </a:ext>
            </a:extLst>
          </p:cNvPr>
          <p:cNvSpPr>
            <a:spLocks noGrp="1"/>
          </p:cNvSpPr>
          <p:nvPr>
            <p:ph sz="quarter" idx="13"/>
          </p:nvPr>
        </p:nvSpPr>
        <p:spPr/>
        <p:txBody>
          <a:bodyPr/>
          <a:lstStyle/>
          <a:p>
            <a:endParaRPr lang="tr-TR"/>
          </a:p>
        </p:txBody>
      </p:sp>
      <p:sp>
        <p:nvSpPr>
          <p:cNvPr id="3" name="Title 2">
            <a:extLst>
              <a:ext uri="{FF2B5EF4-FFF2-40B4-BE49-F238E27FC236}">
                <a16:creationId xmlns:a16="http://schemas.microsoft.com/office/drawing/2014/main" id="{DFE276DB-A2B3-C234-E86C-200EB2D9183B}"/>
              </a:ext>
            </a:extLst>
          </p:cNvPr>
          <p:cNvSpPr>
            <a:spLocks noGrp="1"/>
          </p:cNvSpPr>
          <p:nvPr>
            <p:ph type="title"/>
          </p:nvPr>
        </p:nvSpPr>
        <p:spPr/>
        <p:txBody>
          <a:bodyPr/>
          <a:lstStyle/>
          <a:p>
            <a:endParaRPr lang="tr-TR"/>
          </a:p>
        </p:txBody>
      </p:sp>
      <p:sp>
        <p:nvSpPr>
          <p:cNvPr id="4" name="Footer Placeholder 3">
            <a:extLst>
              <a:ext uri="{FF2B5EF4-FFF2-40B4-BE49-F238E27FC236}">
                <a16:creationId xmlns:a16="http://schemas.microsoft.com/office/drawing/2014/main" id="{2F951993-236E-4E0C-8BE9-40019C209030}"/>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CE15CA83-25C6-617D-0AB8-07A493F4EAF7}"/>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36304448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3847192-197E-487B-B13A-C544A3CDBA7A}"/>
              </a:ext>
            </a:extLst>
          </p:cNvPr>
          <p:cNvSpPr>
            <a:spLocks noGrp="1"/>
          </p:cNvSpPr>
          <p:nvPr>
            <p:ph sz="quarter" idx="13"/>
          </p:nvPr>
        </p:nvSpPr>
        <p:spPr/>
        <p:txBody>
          <a:bodyPr/>
          <a:lstStyle/>
          <a:p>
            <a:endParaRPr lang="tr-TR"/>
          </a:p>
        </p:txBody>
      </p:sp>
      <p:sp>
        <p:nvSpPr>
          <p:cNvPr id="3" name="Title 2">
            <a:extLst>
              <a:ext uri="{FF2B5EF4-FFF2-40B4-BE49-F238E27FC236}">
                <a16:creationId xmlns:a16="http://schemas.microsoft.com/office/drawing/2014/main" id="{D216FE89-1278-8B4D-613E-1B698F58DC2D}"/>
              </a:ext>
            </a:extLst>
          </p:cNvPr>
          <p:cNvSpPr>
            <a:spLocks noGrp="1"/>
          </p:cNvSpPr>
          <p:nvPr>
            <p:ph type="title"/>
          </p:nvPr>
        </p:nvSpPr>
        <p:spPr/>
        <p:txBody>
          <a:bodyPr/>
          <a:lstStyle/>
          <a:p>
            <a:endParaRPr lang="tr-TR"/>
          </a:p>
        </p:txBody>
      </p:sp>
      <p:sp>
        <p:nvSpPr>
          <p:cNvPr id="4" name="Footer Placeholder 3">
            <a:extLst>
              <a:ext uri="{FF2B5EF4-FFF2-40B4-BE49-F238E27FC236}">
                <a16:creationId xmlns:a16="http://schemas.microsoft.com/office/drawing/2014/main" id="{D0ADFB18-7DBC-6CE9-6346-C09BD1319BC3}"/>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83DBC7AD-8BF0-74FA-D24B-AFBEDD15D597}"/>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41681946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202FB0E-2BF0-1DFE-0A22-C9880249AB88}"/>
              </a:ext>
            </a:extLst>
          </p:cNvPr>
          <p:cNvSpPr>
            <a:spLocks noGrp="1"/>
          </p:cNvSpPr>
          <p:nvPr>
            <p:ph sz="quarter" idx="13"/>
          </p:nvPr>
        </p:nvSpPr>
        <p:spPr/>
        <p:txBody>
          <a:bodyPr/>
          <a:lstStyle/>
          <a:p>
            <a:endParaRPr lang="tr-TR"/>
          </a:p>
        </p:txBody>
      </p:sp>
      <p:sp>
        <p:nvSpPr>
          <p:cNvPr id="3" name="Title 2">
            <a:extLst>
              <a:ext uri="{FF2B5EF4-FFF2-40B4-BE49-F238E27FC236}">
                <a16:creationId xmlns:a16="http://schemas.microsoft.com/office/drawing/2014/main" id="{E968836C-EB13-73A5-407B-05BF50E00D92}"/>
              </a:ext>
            </a:extLst>
          </p:cNvPr>
          <p:cNvSpPr>
            <a:spLocks noGrp="1"/>
          </p:cNvSpPr>
          <p:nvPr>
            <p:ph type="title"/>
          </p:nvPr>
        </p:nvSpPr>
        <p:spPr/>
        <p:txBody>
          <a:bodyPr/>
          <a:lstStyle/>
          <a:p>
            <a:endParaRPr lang="tr-TR"/>
          </a:p>
        </p:txBody>
      </p:sp>
      <p:sp>
        <p:nvSpPr>
          <p:cNvPr id="4" name="Footer Placeholder 3">
            <a:extLst>
              <a:ext uri="{FF2B5EF4-FFF2-40B4-BE49-F238E27FC236}">
                <a16:creationId xmlns:a16="http://schemas.microsoft.com/office/drawing/2014/main" id="{861B7212-0847-33E8-9E48-545197C5D978}"/>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6C8FC9B7-2F95-0B97-1900-68DDD63DF63C}"/>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38036452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706215-FC98-6ADF-23ED-34B1EF2377B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8966AEA-3407-AFD5-6EE2-E5906CC7C92F}"/>
              </a:ext>
            </a:extLst>
          </p:cNvPr>
          <p:cNvSpPr>
            <a:spLocks noGrp="1"/>
          </p:cNvSpPr>
          <p:nvPr>
            <p:ph type="title"/>
          </p:nvPr>
        </p:nvSpPr>
        <p:spPr>
          <a:xfrm>
            <a:off x="445713" y="1517515"/>
            <a:ext cx="11300573" cy="2779921"/>
          </a:xfrm>
        </p:spPr>
        <p:txBody>
          <a:bodyPr/>
          <a:lstStyle/>
          <a:p>
            <a:pPr algn="ctr"/>
            <a:r>
              <a:rPr lang="en-US" sz="3600" dirty="0"/>
              <a:t> </a:t>
            </a:r>
            <a:br>
              <a:rPr lang="en-US" sz="3600" dirty="0"/>
            </a:br>
            <a:r>
              <a:rPr lang="en-US" sz="3600" dirty="0"/>
              <a:t>Final Checking:</a:t>
            </a:r>
            <a:br>
              <a:rPr lang="en-US" sz="3600" dirty="0"/>
            </a:br>
            <a:r>
              <a:rPr lang="en-US" sz="3600" dirty="0"/>
              <a:t>Results</a:t>
            </a:r>
          </a:p>
        </p:txBody>
      </p:sp>
    </p:spTree>
    <p:extLst>
      <p:ext uri="{BB962C8B-B14F-4D97-AF65-F5344CB8AC3E}">
        <p14:creationId xmlns:p14="http://schemas.microsoft.com/office/powerpoint/2010/main" val="36832670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46F261-9847-6930-3610-3EC31D01FEA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0D7FCD0-A508-6AD4-D5CC-0223A34BF438}"/>
              </a:ext>
            </a:extLst>
          </p:cNvPr>
          <p:cNvSpPr>
            <a:spLocks noGrp="1"/>
          </p:cNvSpPr>
          <p:nvPr>
            <p:ph type="title"/>
          </p:nvPr>
        </p:nvSpPr>
        <p:spPr/>
        <p:txBody>
          <a:bodyPr/>
          <a:lstStyle/>
          <a:p>
            <a:r>
              <a:rPr lang="en-US" dirty="0"/>
              <a:t>Final Checking - Results</a:t>
            </a:r>
            <a:endParaRPr lang="tr-TR" dirty="0"/>
          </a:p>
        </p:txBody>
      </p:sp>
      <p:sp>
        <p:nvSpPr>
          <p:cNvPr id="4" name="Footer Placeholder 3">
            <a:extLst>
              <a:ext uri="{FF2B5EF4-FFF2-40B4-BE49-F238E27FC236}">
                <a16:creationId xmlns:a16="http://schemas.microsoft.com/office/drawing/2014/main" id="{C0BD6D1C-3752-A361-AC98-961D6E62B87B}"/>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24E98363-7217-F55E-AD96-62DA2A3BB7CE}"/>
              </a:ext>
            </a:extLst>
          </p:cNvPr>
          <p:cNvSpPr>
            <a:spLocks noGrp="1"/>
          </p:cNvSpPr>
          <p:nvPr>
            <p:ph type="sldNum" sz="quarter" idx="16"/>
          </p:nvPr>
        </p:nvSpPr>
        <p:spPr/>
        <p:txBody>
          <a:bodyPr/>
          <a:lstStyle/>
          <a:p>
            <a:r>
              <a:rPr lang="en-US"/>
              <a:t> </a:t>
            </a:r>
          </a:p>
        </p:txBody>
      </p:sp>
      <p:pic>
        <p:nvPicPr>
          <p:cNvPr id="19" name="Content Placeholder 18" descr="A graph of different frequency&#10;&#10;AI-generated content may be incorrect.">
            <a:extLst>
              <a:ext uri="{FF2B5EF4-FFF2-40B4-BE49-F238E27FC236}">
                <a16:creationId xmlns:a16="http://schemas.microsoft.com/office/drawing/2014/main" id="{59960A7C-61EC-1E8A-08F3-0EB36231EE24}"/>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335360" y="1348833"/>
            <a:ext cx="11520487" cy="5026094"/>
          </a:xfrm>
        </p:spPr>
      </p:pic>
      <p:cxnSp>
        <p:nvCxnSpPr>
          <p:cNvPr id="15" name="Straight Arrow Connector 14">
            <a:extLst>
              <a:ext uri="{FF2B5EF4-FFF2-40B4-BE49-F238E27FC236}">
                <a16:creationId xmlns:a16="http://schemas.microsoft.com/office/drawing/2014/main" id="{A79A3A84-FE63-E32B-2BBA-91AE543224F9}"/>
              </a:ext>
            </a:extLst>
          </p:cNvPr>
          <p:cNvCxnSpPr/>
          <p:nvPr/>
        </p:nvCxnSpPr>
        <p:spPr>
          <a:xfrm flipH="1" flipV="1">
            <a:off x="11618068" y="3953477"/>
            <a:ext cx="671208" cy="105058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00384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B312E-70CB-062A-25F6-BB0702B66A8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4CFC2B9-E946-EED3-C569-5BB5BEA94A21}"/>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Problem @ 2GHz :</a:t>
            </a:r>
            <a:br>
              <a:rPr lang="en-US" sz="3600" dirty="0"/>
            </a:br>
            <a:r>
              <a:rPr lang="en-US" sz="3600" dirty="0"/>
              <a:t>Recap</a:t>
            </a:r>
          </a:p>
        </p:txBody>
      </p:sp>
    </p:spTree>
    <p:extLst>
      <p:ext uri="{BB962C8B-B14F-4D97-AF65-F5344CB8AC3E}">
        <p14:creationId xmlns:p14="http://schemas.microsoft.com/office/powerpoint/2010/main" val="36384561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35DCDB-C03B-7C08-C3CB-2B900EE1E13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6BCB15E-C80F-8B0A-6148-C23A11E1F26C}"/>
              </a:ext>
            </a:extLst>
          </p:cNvPr>
          <p:cNvSpPr>
            <a:spLocks noGrp="1"/>
          </p:cNvSpPr>
          <p:nvPr>
            <p:ph type="title"/>
          </p:nvPr>
        </p:nvSpPr>
        <p:spPr/>
        <p:txBody>
          <a:bodyPr/>
          <a:lstStyle/>
          <a:p>
            <a:r>
              <a:rPr lang="en-US" dirty="0"/>
              <a:t>Final Checking - Results</a:t>
            </a:r>
            <a:endParaRPr lang="tr-TR" dirty="0"/>
          </a:p>
        </p:txBody>
      </p:sp>
      <p:sp>
        <p:nvSpPr>
          <p:cNvPr id="4" name="Footer Placeholder 3">
            <a:extLst>
              <a:ext uri="{FF2B5EF4-FFF2-40B4-BE49-F238E27FC236}">
                <a16:creationId xmlns:a16="http://schemas.microsoft.com/office/drawing/2014/main" id="{E150A4BA-9946-1FEF-E476-DAC051A1DAD5}"/>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C78FC87C-2F5E-F6BB-4295-B5AB533A9A53}"/>
              </a:ext>
            </a:extLst>
          </p:cNvPr>
          <p:cNvSpPr>
            <a:spLocks noGrp="1"/>
          </p:cNvSpPr>
          <p:nvPr>
            <p:ph type="sldNum" sz="quarter" idx="16"/>
          </p:nvPr>
        </p:nvSpPr>
        <p:spPr/>
        <p:txBody>
          <a:bodyPr/>
          <a:lstStyle/>
          <a:p>
            <a:r>
              <a:rPr lang="en-US"/>
              <a:t> </a:t>
            </a:r>
          </a:p>
        </p:txBody>
      </p:sp>
      <p:pic>
        <p:nvPicPr>
          <p:cNvPr id="7" name="Content Placeholder 18" descr="A graph of different frequency&#10;&#10;AI-generated content may be incorrect.">
            <a:extLst>
              <a:ext uri="{FF2B5EF4-FFF2-40B4-BE49-F238E27FC236}">
                <a16:creationId xmlns:a16="http://schemas.microsoft.com/office/drawing/2014/main" id="{1B7F093E-3B73-328C-9601-9230EC59AC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360" y="1348833"/>
            <a:ext cx="11520487" cy="5026094"/>
          </a:xfrm>
          <a:prstGeom prst="rect">
            <a:avLst/>
          </a:prstGeom>
        </p:spPr>
      </p:pic>
      <p:cxnSp>
        <p:nvCxnSpPr>
          <p:cNvPr id="11" name="Straight Arrow Connector 10">
            <a:extLst>
              <a:ext uri="{FF2B5EF4-FFF2-40B4-BE49-F238E27FC236}">
                <a16:creationId xmlns:a16="http://schemas.microsoft.com/office/drawing/2014/main" id="{423A2016-A70F-7837-B7A1-C23BF185C562}"/>
              </a:ext>
            </a:extLst>
          </p:cNvPr>
          <p:cNvCxnSpPr/>
          <p:nvPr/>
        </p:nvCxnSpPr>
        <p:spPr>
          <a:xfrm>
            <a:off x="6241914" y="383426"/>
            <a:ext cx="0" cy="118288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39148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09239-19D7-E309-96DB-82EE44D99ED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DFECC06-F5DE-6DEB-65B2-987F2BD56A2C}"/>
              </a:ext>
            </a:extLst>
          </p:cNvPr>
          <p:cNvSpPr>
            <a:spLocks noGrp="1"/>
          </p:cNvSpPr>
          <p:nvPr>
            <p:ph type="title"/>
          </p:nvPr>
        </p:nvSpPr>
        <p:spPr>
          <a:xfrm>
            <a:off x="445713" y="1517515"/>
            <a:ext cx="11300573" cy="2779921"/>
          </a:xfrm>
        </p:spPr>
        <p:txBody>
          <a:bodyPr/>
          <a:lstStyle/>
          <a:p>
            <a:pPr algn="ctr"/>
            <a:r>
              <a:rPr lang="en-US" sz="3600" dirty="0"/>
              <a:t> </a:t>
            </a:r>
            <a:br>
              <a:rPr lang="en-US" sz="3600" dirty="0"/>
            </a:br>
            <a:r>
              <a:rPr lang="en-US" sz="3600" dirty="0"/>
              <a:t>Final Checking:</a:t>
            </a:r>
            <a:br>
              <a:rPr lang="en-US" sz="3600" dirty="0"/>
            </a:br>
            <a:r>
              <a:rPr lang="en-US" sz="3600" dirty="0"/>
              <a:t>Problem @1.5 GHz</a:t>
            </a:r>
          </a:p>
        </p:txBody>
      </p:sp>
    </p:spTree>
    <p:extLst>
      <p:ext uri="{BB962C8B-B14F-4D97-AF65-F5344CB8AC3E}">
        <p14:creationId xmlns:p14="http://schemas.microsoft.com/office/powerpoint/2010/main" val="15267217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2366BE-3023-9BCE-B852-9FB3BEC866C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D12E7C9-9328-CDCA-EA17-1B2D6BC8F4DB}"/>
              </a:ext>
            </a:extLst>
          </p:cNvPr>
          <p:cNvSpPr>
            <a:spLocks noGrp="1"/>
          </p:cNvSpPr>
          <p:nvPr>
            <p:ph type="title"/>
          </p:nvPr>
        </p:nvSpPr>
        <p:spPr/>
        <p:txBody>
          <a:bodyPr/>
          <a:lstStyle/>
          <a:p>
            <a:r>
              <a:rPr lang="en-US" dirty="0"/>
              <a:t> </a:t>
            </a:r>
            <a:br>
              <a:rPr lang="en-US" dirty="0"/>
            </a:br>
            <a:r>
              <a:rPr lang="en-US" dirty="0"/>
              <a:t>Final Checking - Problem @1.5 GHz</a:t>
            </a:r>
            <a:endParaRPr lang="tr-TR" dirty="0"/>
          </a:p>
        </p:txBody>
      </p:sp>
      <p:sp>
        <p:nvSpPr>
          <p:cNvPr id="4" name="Footer Placeholder 3">
            <a:extLst>
              <a:ext uri="{FF2B5EF4-FFF2-40B4-BE49-F238E27FC236}">
                <a16:creationId xmlns:a16="http://schemas.microsoft.com/office/drawing/2014/main" id="{58610875-92A6-96A8-970A-8BD2766E4149}"/>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BAEC1EE3-3EA4-8188-E60B-B5178E1CA201}"/>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2DB51CAF-5286-9D44-0848-B4B24A6804B9}"/>
              </a:ext>
            </a:extLst>
          </p:cNvPr>
          <p:cNvSpPr>
            <a:spLocks noGrp="1"/>
          </p:cNvSpPr>
          <p:nvPr>
            <p:ph sz="quarter" idx="13"/>
          </p:nvPr>
        </p:nvSpPr>
        <p:spPr/>
        <p:txBody>
          <a:bodyPr/>
          <a:lstStyle/>
          <a:p>
            <a:r>
              <a:rPr lang="en-US" dirty="0"/>
              <a:t>Here is the output voltage waveform :</a:t>
            </a:r>
          </a:p>
        </p:txBody>
      </p:sp>
      <p:pic>
        <p:nvPicPr>
          <p:cNvPr id="9" name="Picture 8">
            <a:extLst>
              <a:ext uri="{FF2B5EF4-FFF2-40B4-BE49-F238E27FC236}">
                <a16:creationId xmlns:a16="http://schemas.microsoft.com/office/drawing/2014/main" id="{1153C92A-C96A-AF88-964A-B8043A2DF124}"/>
              </a:ext>
            </a:extLst>
          </p:cNvPr>
          <p:cNvPicPr>
            <a:picLocks noChangeAspect="1"/>
          </p:cNvPicPr>
          <p:nvPr/>
        </p:nvPicPr>
        <p:blipFill>
          <a:blip r:embed="rId2"/>
          <a:stretch>
            <a:fillRect/>
          </a:stretch>
        </p:blipFill>
        <p:spPr>
          <a:xfrm>
            <a:off x="334800" y="1624036"/>
            <a:ext cx="11522369" cy="4928029"/>
          </a:xfrm>
          <a:prstGeom prst="rect">
            <a:avLst/>
          </a:prstGeom>
        </p:spPr>
      </p:pic>
      <p:cxnSp>
        <p:nvCxnSpPr>
          <p:cNvPr id="10" name="Straight Arrow Connector 9">
            <a:extLst>
              <a:ext uri="{FF2B5EF4-FFF2-40B4-BE49-F238E27FC236}">
                <a16:creationId xmlns:a16="http://schemas.microsoft.com/office/drawing/2014/main" id="{1FCB38ED-B94C-B09A-0AED-8DC2DCB260EF}"/>
              </a:ext>
            </a:extLst>
          </p:cNvPr>
          <p:cNvCxnSpPr/>
          <p:nvPr/>
        </p:nvCxnSpPr>
        <p:spPr>
          <a:xfrm>
            <a:off x="8469548" y="840626"/>
            <a:ext cx="0" cy="118288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A3CEE71-722E-A21F-FF18-4C16CEC5F863}"/>
              </a:ext>
            </a:extLst>
          </p:cNvPr>
          <p:cNvCxnSpPr/>
          <p:nvPr/>
        </p:nvCxnSpPr>
        <p:spPr>
          <a:xfrm>
            <a:off x="2409216" y="2246120"/>
            <a:ext cx="0" cy="118288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20708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2AA326-761B-4D4C-FE76-5033C83C4A2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8EF0BDB-0F81-1030-D662-0B607A5EF039}"/>
              </a:ext>
            </a:extLst>
          </p:cNvPr>
          <p:cNvSpPr>
            <a:spLocks noGrp="1"/>
          </p:cNvSpPr>
          <p:nvPr>
            <p:ph type="title"/>
          </p:nvPr>
        </p:nvSpPr>
        <p:spPr/>
        <p:txBody>
          <a:bodyPr/>
          <a:lstStyle/>
          <a:p>
            <a:r>
              <a:rPr lang="en-US" dirty="0"/>
              <a:t> </a:t>
            </a:r>
            <a:br>
              <a:rPr lang="en-US" dirty="0"/>
            </a:br>
            <a:r>
              <a:rPr lang="en-US" dirty="0"/>
              <a:t>Final Checking - Problem @1.5 GHz</a:t>
            </a:r>
            <a:endParaRPr lang="tr-TR" dirty="0"/>
          </a:p>
        </p:txBody>
      </p:sp>
      <p:sp>
        <p:nvSpPr>
          <p:cNvPr id="4" name="Footer Placeholder 3">
            <a:extLst>
              <a:ext uri="{FF2B5EF4-FFF2-40B4-BE49-F238E27FC236}">
                <a16:creationId xmlns:a16="http://schemas.microsoft.com/office/drawing/2014/main" id="{4F0D1241-026C-A681-AEF8-223E8F05D49C}"/>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576DE757-390C-D153-1FC4-4E11F9EEC881}"/>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60EFD034-9DDE-8941-96DA-9570D4BF5FF0}"/>
              </a:ext>
            </a:extLst>
          </p:cNvPr>
          <p:cNvSpPr>
            <a:spLocks noGrp="1"/>
          </p:cNvSpPr>
          <p:nvPr>
            <p:ph sz="quarter" idx="13"/>
          </p:nvPr>
        </p:nvSpPr>
        <p:spPr/>
        <p:txBody>
          <a:bodyPr/>
          <a:lstStyle/>
          <a:p>
            <a:r>
              <a:rPr lang="en-US" dirty="0"/>
              <a:t>Here is the output voltage waveform :</a:t>
            </a:r>
          </a:p>
        </p:txBody>
      </p:sp>
      <p:pic>
        <p:nvPicPr>
          <p:cNvPr id="14" name="Picture 13">
            <a:extLst>
              <a:ext uri="{FF2B5EF4-FFF2-40B4-BE49-F238E27FC236}">
                <a16:creationId xmlns:a16="http://schemas.microsoft.com/office/drawing/2014/main" id="{890044A9-A9FC-368E-D333-068A4E33A7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1772" y="1839899"/>
            <a:ext cx="5418290" cy="3955123"/>
          </a:xfrm>
          <a:prstGeom prst="rect">
            <a:avLst/>
          </a:prstGeom>
        </p:spPr>
      </p:pic>
      <p:pic>
        <p:nvPicPr>
          <p:cNvPr id="16" name="Picture 15">
            <a:extLst>
              <a:ext uri="{FF2B5EF4-FFF2-40B4-BE49-F238E27FC236}">
                <a16:creationId xmlns:a16="http://schemas.microsoft.com/office/drawing/2014/main" id="{692E9FAF-336A-D836-D9EF-341D7D78DC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4800" y="1855141"/>
            <a:ext cx="5395428" cy="3939881"/>
          </a:xfrm>
          <a:prstGeom prst="rect">
            <a:avLst/>
          </a:prstGeom>
        </p:spPr>
      </p:pic>
    </p:spTree>
    <p:extLst>
      <p:ext uri="{BB962C8B-B14F-4D97-AF65-F5344CB8AC3E}">
        <p14:creationId xmlns:p14="http://schemas.microsoft.com/office/powerpoint/2010/main" val="14978502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74680-D9A8-5F5F-D98D-CC2A959D22B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808669D-4A59-EC81-6984-35F237BE3E60}"/>
              </a:ext>
            </a:extLst>
          </p:cNvPr>
          <p:cNvSpPr>
            <a:spLocks noGrp="1"/>
          </p:cNvSpPr>
          <p:nvPr>
            <p:ph type="title"/>
          </p:nvPr>
        </p:nvSpPr>
        <p:spPr/>
        <p:txBody>
          <a:bodyPr/>
          <a:lstStyle/>
          <a:p>
            <a:r>
              <a:rPr lang="en-US" dirty="0"/>
              <a:t> </a:t>
            </a:r>
            <a:br>
              <a:rPr lang="en-US" dirty="0"/>
            </a:br>
            <a:r>
              <a:rPr lang="en-US" dirty="0"/>
              <a:t>Final Checking - Problem @1.5 GHz</a:t>
            </a:r>
            <a:endParaRPr lang="tr-TR" dirty="0"/>
          </a:p>
        </p:txBody>
      </p:sp>
      <p:sp>
        <p:nvSpPr>
          <p:cNvPr id="4" name="Footer Placeholder 3">
            <a:extLst>
              <a:ext uri="{FF2B5EF4-FFF2-40B4-BE49-F238E27FC236}">
                <a16:creationId xmlns:a16="http://schemas.microsoft.com/office/drawing/2014/main" id="{F8DB1790-674E-547E-AC58-735689E909E9}"/>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7A335AD0-EDB3-EF98-EAC5-147CB1726E6D}"/>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C81E434C-1344-879E-DF2A-68988D907EA0}"/>
              </a:ext>
            </a:extLst>
          </p:cNvPr>
          <p:cNvSpPr>
            <a:spLocks noGrp="1"/>
          </p:cNvSpPr>
          <p:nvPr>
            <p:ph sz="quarter" idx="13"/>
          </p:nvPr>
        </p:nvSpPr>
        <p:spPr/>
        <p:txBody>
          <a:bodyPr/>
          <a:lstStyle/>
          <a:p>
            <a:r>
              <a:rPr lang="en-US" dirty="0"/>
              <a:t>What about @ 2 GHz:</a:t>
            </a:r>
          </a:p>
          <a:p>
            <a:pPr marL="0" indent="0">
              <a:buNone/>
            </a:pPr>
            <a:endParaRPr lang="en-US" dirty="0"/>
          </a:p>
        </p:txBody>
      </p:sp>
      <p:pic>
        <p:nvPicPr>
          <p:cNvPr id="7" name="Picture 6">
            <a:extLst>
              <a:ext uri="{FF2B5EF4-FFF2-40B4-BE49-F238E27FC236}">
                <a16:creationId xmlns:a16="http://schemas.microsoft.com/office/drawing/2014/main" id="{0721E96E-EA92-E10D-BF70-CA67F4E8AB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0" y="1622320"/>
            <a:ext cx="12192000" cy="5119125"/>
          </a:xfrm>
          <a:prstGeom prst="rect">
            <a:avLst/>
          </a:prstGeom>
        </p:spPr>
      </p:pic>
    </p:spTree>
    <p:extLst>
      <p:ext uri="{BB962C8B-B14F-4D97-AF65-F5344CB8AC3E}">
        <p14:creationId xmlns:p14="http://schemas.microsoft.com/office/powerpoint/2010/main" val="9346220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9E578A-AA9F-C5F7-330C-7402A5AB368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E995265-7F58-B348-1678-902BA484AD33}"/>
              </a:ext>
            </a:extLst>
          </p:cNvPr>
          <p:cNvSpPr>
            <a:spLocks noGrp="1"/>
          </p:cNvSpPr>
          <p:nvPr>
            <p:ph type="title"/>
          </p:nvPr>
        </p:nvSpPr>
        <p:spPr/>
        <p:txBody>
          <a:bodyPr/>
          <a:lstStyle/>
          <a:p>
            <a:r>
              <a:rPr lang="en-US" dirty="0"/>
              <a:t> </a:t>
            </a:r>
            <a:br>
              <a:rPr lang="en-US" dirty="0"/>
            </a:br>
            <a:r>
              <a:rPr lang="en-US" dirty="0"/>
              <a:t>Final Checking - Problem @1.5 GHz</a:t>
            </a:r>
            <a:endParaRPr lang="tr-TR" dirty="0"/>
          </a:p>
        </p:txBody>
      </p:sp>
      <p:sp>
        <p:nvSpPr>
          <p:cNvPr id="4" name="Footer Placeholder 3">
            <a:extLst>
              <a:ext uri="{FF2B5EF4-FFF2-40B4-BE49-F238E27FC236}">
                <a16:creationId xmlns:a16="http://schemas.microsoft.com/office/drawing/2014/main" id="{68773B47-D691-1B36-13F5-2581A62B50F3}"/>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626A71B9-10A6-3D5B-D5E2-9E350DEC5F0A}"/>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703473DA-135D-4660-757B-B79719261CDA}"/>
              </a:ext>
            </a:extLst>
          </p:cNvPr>
          <p:cNvSpPr>
            <a:spLocks noGrp="1"/>
          </p:cNvSpPr>
          <p:nvPr>
            <p:ph sz="quarter" idx="13"/>
          </p:nvPr>
        </p:nvSpPr>
        <p:spPr/>
        <p:txBody>
          <a:bodyPr/>
          <a:lstStyle/>
          <a:p>
            <a:r>
              <a:rPr lang="en-US" dirty="0"/>
              <a:t>Here is the output voltage waveform :</a:t>
            </a:r>
          </a:p>
        </p:txBody>
      </p:sp>
      <p:pic>
        <p:nvPicPr>
          <p:cNvPr id="9" name="Picture 8">
            <a:extLst>
              <a:ext uri="{FF2B5EF4-FFF2-40B4-BE49-F238E27FC236}">
                <a16:creationId xmlns:a16="http://schemas.microsoft.com/office/drawing/2014/main" id="{3C66B9C8-B46B-27F2-A4FF-A26E4AEFD334}"/>
              </a:ext>
            </a:extLst>
          </p:cNvPr>
          <p:cNvPicPr>
            <a:picLocks noChangeAspect="1"/>
          </p:cNvPicPr>
          <p:nvPr/>
        </p:nvPicPr>
        <p:blipFill>
          <a:blip r:embed="rId2"/>
          <a:stretch>
            <a:fillRect/>
          </a:stretch>
        </p:blipFill>
        <p:spPr>
          <a:xfrm>
            <a:off x="334800" y="1624036"/>
            <a:ext cx="11522369" cy="4928029"/>
          </a:xfrm>
          <a:prstGeom prst="rect">
            <a:avLst/>
          </a:prstGeom>
        </p:spPr>
      </p:pic>
      <p:cxnSp>
        <p:nvCxnSpPr>
          <p:cNvPr id="10" name="Straight Arrow Connector 9">
            <a:extLst>
              <a:ext uri="{FF2B5EF4-FFF2-40B4-BE49-F238E27FC236}">
                <a16:creationId xmlns:a16="http://schemas.microsoft.com/office/drawing/2014/main" id="{F7521FE1-E8F0-6FEF-B143-60EA1717BDE9}"/>
              </a:ext>
            </a:extLst>
          </p:cNvPr>
          <p:cNvCxnSpPr/>
          <p:nvPr/>
        </p:nvCxnSpPr>
        <p:spPr>
          <a:xfrm>
            <a:off x="8469548" y="840626"/>
            <a:ext cx="0" cy="118288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A352A89-C361-A319-EF24-EA7E5C0984B3}"/>
              </a:ext>
            </a:extLst>
          </p:cNvPr>
          <p:cNvCxnSpPr/>
          <p:nvPr/>
        </p:nvCxnSpPr>
        <p:spPr>
          <a:xfrm>
            <a:off x="2409216" y="2246120"/>
            <a:ext cx="0" cy="118288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51944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B5897-5548-7F4B-F54B-491A11B4480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2E9D09E-FF2D-9709-5723-AB81D0D4857F}"/>
              </a:ext>
            </a:extLst>
          </p:cNvPr>
          <p:cNvSpPr>
            <a:spLocks noGrp="1"/>
          </p:cNvSpPr>
          <p:nvPr>
            <p:ph type="title"/>
          </p:nvPr>
        </p:nvSpPr>
        <p:spPr/>
        <p:txBody>
          <a:bodyPr/>
          <a:lstStyle/>
          <a:p>
            <a:r>
              <a:rPr lang="en-US" dirty="0"/>
              <a:t> </a:t>
            </a:r>
            <a:br>
              <a:rPr lang="en-US" dirty="0"/>
            </a:br>
            <a:r>
              <a:rPr lang="en-US" dirty="0"/>
              <a:t>Final Checking - Problem @1.5 GHz</a:t>
            </a:r>
            <a:endParaRPr lang="tr-TR" dirty="0"/>
          </a:p>
        </p:txBody>
      </p:sp>
      <p:sp>
        <p:nvSpPr>
          <p:cNvPr id="4" name="Footer Placeholder 3">
            <a:extLst>
              <a:ext uri="{FF2B5EF4-FFF2-40B4-BE49-F238E27FC236}">
                <a16:creationId xmlns:a16="http://schemas.microsoft.com/office/drawing/2014/main" id="{D0F31FF9-41B4-5D7D-FDA6-583EE18888B1}"/>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FFDB016A-48CA-E760-41DC-4C8091BD2A01}"/>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025F6668-9CA8-C3DE-F8DF-54ED1D303516}"/>
              </a:ext>
            </a:extLst>
          </p:cNvPr>
          <p:cNvSpPr>
            <a:spLocks noGrp="1"/>
          </p:cNvSpPr>
          <p:nvPr>
            <p:ph sz="quarter" idx="13"/>
          </p:nvPr>
        </p:nvSpPr>
        <p:spPr/>
        <p:txBody>
          <a:bodyPr/>
          <a:lstStyle/>
          <a:p>
            <a:r>
              <a:rPr lang="en-US" dirty="0"/>
              <a:t>Therefore, calibration seems that it does not working @ 1.5 GHz:</a:t>
            </a:r>
          </a:p>
        </p:txBody>
      </p:sp>
      <p:pic>
        <p:nvPicPr>
          <p:cNvPr id="7" name="Picture 6" descr="A graph with red and blue lines&#10;&#10;AI-generated content may be incorrect.">
            <a:extLst>
              <a:ext uri="{FF2B5EF4-FFF2-40B4-BE49-F238E27FC236}">
                <a16:creationId xmlns:a16="http://schemas.microsoft.com/office/drawing/2014/main" id="{CE69648C-BBC3-EAAB-A5C2-CAB7756994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6350" y="1643975"/>
            <a:ext cx="11201717" cy="4932100"/>
          </a:xfrm>
          <a:prstGeom prst="rect">
            <a:avLst/>
          </a:prstGeom>
        </p:spPr>
      </p:pic>
      <p:cxnSp>
        <p:nvCxnSpPr>
          <p:cNvPr id="8" name="Straight Arrow Connector 7">
            <a:extLst>
              <a:ext uri="{FF2B5EF4-FFF2-40B4-BE49-F238E27FC236}">
                <a16:creationId xmlns:a16="http://schemas.microsoft.com/office/drawing/2014/main" id="{D168B1A9-92FE-A548-1607-B78FC8401FDD}"/>
              </a:ext>
            </a:extLst>
          </p:cNvPr>
          <p:cNvCxnSpPr/>
          <p:nvPr/>
        </p:nvCxnSpPr>
        <p:spPr>
          <a:xfrm>
            <a:off x="2516220" y="4006826"/>
            <a:ext cx="0" cy="118288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A6523B9-F62A-84C3-7DC7-925895716984}"/>
              </a:ext>
            </a:extLst>
          </p:cNvPr>
          <p:cNvCxnSpPr/>
          <p:nvPr/>
        </p:nvCxnSpPr>
        <p:spPr>
          <a:xfrm>
            <a:off x="8372272" y="908720"/>
            <a:ext cx="0" cy="118288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61413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285B73-570E-3685-E3C2-88AF027B42F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5319514-56F0-650F-5478-39E3CA24EC0F}"/>
              </a:ext>
            </a:extLst>
          </p:cNvPr>
          <p:cNvSpPr>
            <a:spLocks noGrp="1"/>
          </p:cNvSpPr>
          <p:nvPr>
            <p:ph type="title"/>
          </p:nvPr>
        </p:nvSpPr>
        <p:spPr>
          <a:xfrm>
            <a:off x="445713" y="1517515"/>
            <a:ext cx="11300573" cy="2779921"/>
          </a:xfrm>
        </p:spPr>
        <p:txBody>
          <a:bodyPr/>
          <a:lstStyle/>
          <a:p>
            <a:pPr algn="ctr"/>
            <a:r>
              <a:rPr lang="en-US" sz="3600" dirty="0"/>
              <a:t> </a:t>
            </a:r>
            <a:br>
              <a:rPr lang="en-US" sz="3600" dirty="0"/>
            </a:br>
            <a:r>
              <a:rPr lang="en-US" sz="3600" dirty="0"/>
              <a:t>Final Checking:</a:t>
            </a:r>
            <a:br>
              <a:rPr lang="en-US" sz="3600" dirty="0"/>
            </a:br>
            <a:r>
              <a:rPr lang="en-US" sz="3600" dirty="0"/>
              <a:t>Solution @1.5 GHz</a:t>
            </a:r>
          </a:p>
        </p:txBody>
      </p:sp>
    </p:spTree>
    <p:extLst>
      <p:ext uri="{BB962C8B-B14F-4D97-AF65-F5344CB8AC3E}">
        <p14:creationId xmlns:p14="http://schemas.microsoft.com/office/powerpoint/2010/main" val="23018802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65A870-1A38-EFA4-9575-2DCFAF0C54DE}"/>
            </a:ext>
          </a:extLst>
        </p:cNvPr>
        <p:cNvGrpSpPr/>
        <p:nvPr/>
      </p:nvGrpSpPr>
      <p:grpSpPr>
        <a:xfrm>
          <a:off x="0" y="0"/>
          <a:ext cx="0" cy="0"/>
          <a:chOff x="0" y="0"/>
          <a:chExt cx="0" cy="0"/>
        </a:xfrm>
      </p:grpSpPr>
      <p:pic>
        <p:nvPicPr>
          <p:cNvPr id="13" name="Picture 12" descr="A graph with numbers and lines&#10;&#10;AI-generated content may be incorrect.">
            <a:extLst>
              <a:ext uri="{FF2B5EF4-FFF2-40B4-BE49-F238E27FC236}">
                <a16:creationId xmlns:a16="http://schemas.microsoft.com/office/drawing/2014/main" id="{D778ACCB-E1B2-1E61-EEC8-200B423555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28720"/>
            <a:ext cx="12192000" cy="5141294"/>
          </a:xfrm>
          <a:prstGeom prst="rect">
            <a:avLst/>
          </a:prstGeom>
        </p:spPr>
      </p:pic>
      <p:sp>
        <p:nvSpPr>
          <p:cNvPr id="3" name="Title 2">
            <a:extLst>
              <a:ext uri="{FF2B5EF4-FFF2-40B4-BE49-F238E27FC236}">
                <a16:creationId xmlns:a16="http://schemas.microsoft.com/office/drawing/2014/main" id="{0A647D1C-4A78-566F-BCF2-B9AA200CEE10}"/>
              </a:ext>
            </a:extLst>
          </p:cNvPr>
          <p:cNvSpPr>
            <a:spLocks noGrp="1"/>
          </p:cNvSpPr>
          <p:nvPr>
            <p:ph type="title"/>
          </p:nvPr>
        </p:nvSpPr>
        <p:spPr/>
        <p:txBody>
          <a:bodyPr/>
          <a:lstStyle/>
          <a:p>
            <a:r>
              <a:rPr lang="en-US" dirty="0"/>
              <a:t> </a:t>
            </a:r>
            <a:br>
              <a:rPr lang="en-US" dirty="0"/>
            </a:br>
            <a:r>
              <a:rPr lang="en-US" dirty="0"/>
              <a:t>Final Checking - Solution @1.5 GHz</a:t>
            </a:r>
            <a:endParaRPr lang="tr-TR" dirty="0"/>
          </a:p>
        </p:txBody>
      </p:sp>
      <p:sp>
        <p:nvSpPr>
          <p:cNvPr id="4" name="Footer Placeholder 3">
            <a:extLst>
              <a:ext uri="{FF2B5EF4-FFF2-40B4-BE49-F238E27FC236}">
                <a16:creationId xmlns:a16="http://schemas.microsoft.com/office/drawing/2014/main" id="{250FFF6E-BF95-938C-A3F8-F87792749661}"/>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C489A232-5115-8916-6E9A-1687AB21601D}"/>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04D391CB-F8E9-57F3-F9C1-A02754CEFD48}"/>
              </a:ext>
            </a:extLst>
          </p:cNvPr>
          <p:cNvSpPr>
            <a:spLocks noGrp="1"/>
          </p:cNvSpPr>
          <p:nvPr>
            <p:ph sz="quarter" idx="13"/>
          </p:nvPr>
        </p:nvSpPr>
        <p:spPr/>
        <p:txBody>
          <a:bodyPr/>
          <a:lstStyle/>
          <a:p>
            <a:r>
              <a:rPr lang="en-US" dirty="0" err="1"/>
              <a:t>thd</a:t>
            </a:r>
            <a:r>
              <a:rPr lang="en-US" dirty="0"/>
              <a:t>(</a:t>
            </a:r>
            <a:r>
              <a:rPr lang="en-US" dirty="0" err="1"/>
              <a:t>calibratedWave</a:t>
            </a:r>
            <a:r>
              <a:rPr lang="en-US" dirty="0"/>
              <a:t>, fs, </a:t>
            </a:r>
            <a:r>
              <a:rPr lang="en-US" b="1" dirty="0"/>
              <a:t>#ofHarmonics</a:t>
            </a:r>
            <a:r>
              <a:rPr lang="en-US" dirty="0"/>
              <a:t>, ‘aliased’); where </a:t>
            </a:r>
            <a:r>
              <a:rPr lang="en-US" b="1" dirty="0"/>
              <a:t>#ofHarmonics = 15</a:t>
            </a:r>
          </a:p>
        </p:txBody>
      </p:sp>
      <p:cxnSp>
        <p:nvCxnSpPr>
          <p:cNvPr id="9" name="Straight Arrow Connector 8">
            <a:extLst>
              <a:ext uri="{FF2B5EF4-FFF2-40B4-BE49-F238E27FC236}">
                <a16:creationId xmlns:a16="http://schemas.microsoft.com/office/drawing/2014/main" id="{F3BE725E-6ED5-282F-6100-8A2833DA6285}"/>
              </a:ext>
            </a:extLst>
          </p:cNvPr>
          <p:cNvCxnSpPr/>
          <p:nvPr/>
        </p:nvCxnSpPr>
        <p:spPr>
          <a:xfrm>
            <a:off x="2370305" y="4046400"/>
            <a:ext cx="0" cy="118288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97B512F-DD03-B6BE-885D-6F26EDECBA93}"/>
              </a:ext>
            </a:extLst>
          </p:cNvPr>
          <p:cNvCxnSpPr>
            <a:cxnSpLocks/>
          </p:cNvCxnSpPr>
          <p:nvPr/>
        </p:nvCxnSpPr>
        <p:spPr>
          <a:xfrm flipH="1">
            <a:off x="8955932" y="2879694"/>
            <a:ext cx="1501302"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5095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743A33-6EAF-F1B7-1A9D-108FABB3E06E}"/>
            </a:ext>
          </a:extLst>
        </p:cNvPr>
        <p:cNvGrpSpPr/>
        <p:nvPr/>
      </p:nvGrpSpPr>
      <p:grpSpPr>
        <a:xfrm>
          <a:off x="0" y="0"/>
          <a:ext cx="0" cy="0"/>
          <a:chOff x="0" y="0"/>
          <a:chExt cx="0" cy="0"/>
        </a:xfrm>
      </p:grpSpPr>
      <p:pic>
        <p:nvPicPr>
          <p:cNvPr id="8" name="Picture 7" descr="A graph with lines and numbers&#10;&#10;AI-generated content may be incorrect.">
            <a:extLst>
              <a:ext uri="{FF2B5EF4-FFF2-40B4-BE49-F238E27FC236}">
                <a16:creationId xmlns:a16="http://schemas.microsoft.com/office/drawing/2014/main" id="{24E5D925-B3E0-894A-9198-3F34D435CB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0" y="1647869"/>
            <a:ext cx="12192000" cy="5192889"/>
          </a:xfrm>
          <a:prstGeom prst="rect">
            <a:avLst/>
          </a:prstGeom>
        </p:spPr>
      </p:pic>
      <p:sp>
        <p:nvSpPr>
          <p:cNvPr id="3" name="Title 2">
            <a:extLst>
              <a:ext uri="{FF2B5EF4-FFF2-40B4-BE49-F238E27FC236}">
                <a16:creationId xmlns:a16="http://schemas.microsoft.com/office/drawing/2014/main" id="{A0A2291B-1498-AEAA-095C-58A4CFC52973}"/>
              </a:ext>
            </a:extLst>
          </p:cNvPr>
          <p:cNvSpPr>
            <a:spLocks noGrp="1"/>
          </p:cNvSpPr>
          <p:nvPr>
            <p:ph type="title"/>
          </p:nvPr>
        </p:nvSpPr>
        <p:spPr/>
        <p:txBody>
          <a:bodyPr/>
          <a:lstStyle/>
          <a:p>
            <a:r>
              <a:rPr lang="en-US" dirty="0"/>
              <a:t> </a:t>
            </a:r>
            <a:br>
              <a:rPr lang="en-US" dirty="0"/>
            </a:br>
            <a:r>
              <a:rPr lang="en-US" dirty="0"/>
              <a:t>Final Checking - Solution @1.5 GHz</a:t>
            </a:r>
            <a:endParaRPr lang="tr-TR" dirty="0"/>
          </a:p>
        </p:txBody>
      </p:sp>
      <p:sp>
        <p:nvSpPr>
          <p:cNvPr id="4" name="Footer Placeholder 3">
            <a:extLst>
              <a:ext uri="{FF2B5EF4-FFF2-40B4-BE49-F238E27FC236}">
                <a16:creationId xmlns:a16="http://schemas.microsoft.com/office/drawing/2014/main" id="{42B2E14B-223E-4D91-7075-B65B8A408994}"/>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72E4721C-8728-C4EC-7118-3D6FE86ABEF0}"/>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2F93B9B1-30F7-F50B-4D03-BE16C6DFD337}"/>
              </a:ext>
            </a:extLst>
          </p:cNvPr>
          <p:cNvSpPr>
            <a:spLocks noGrp="1"/>
          </p:cNvSpPr>
          <p:nvPr>
            <p:ph sz="quarter" idx="13"/>
          </p:nvPr>
        </p:nvSpPr>
        <p:spPr/>
        <p:txBody>
          <a:bodyPr/>
          <a:lstStyle/>
          <a:p>
            <a:r>
              <a:rPr lang="en-US" dirty="0" err="1"/>
              <a:t>thd</a:t>
            </a:r>
            <a:r>
              <a:rPr lang="en-US" dirty="0"/>
              <a:t>(</a:t>
            </a:r>
            <a:r>
              <a:rPr lang="en-US" dirty="0" err="1"/>
              <a:t>calibratedWave</a:t>
            </a:r>
            <a:r>
              <a:rPr lang="en-US" dirty="0"/>
              <a:t>, fs, </a:t>
            </a:r>
            <a:r>
              <a:rPr lang="en-US" b="1" dirty="0"/>
              <a:t>#ofHarmonics</a:t>
            </a:r>
            <a:r>
              <a:rPr lang="en-US" dirty="0"/>
              <a:t>, ‘aliased’); where </a:t>
            </a:r>
            <a:r>
              <a:rPr lang="en-US" b="1" dirty="0"/>
              <a:t>#ofHarmonics = 9</a:t>
            </a:r>
          </a:p>
        </p:txBody>
      </p:sp>
      <p:cxnSp>
        <p:nvCxnSpPr>
          <p:cNvPr id="9" name="Straight Arrow Connector 8">
            <a:extLst>
              <a:ext uri="{FF2B5EF4-FFF2-40B4-BE49-F238E27FC236}">
                <a16:creationId xmlns:a16="http://schemas.microsoft.com/office/drawing/2014/main" id="{5D81FB89-E718-3999-EE31-406001F5D6DD}"/>
              </a:ext>
            </a:extLst>
          </p:cNvPr>
          <p:cNvCxnSpPr/>
          <p:nvPr/>
        </p:nvCxnSpPr>
        <p:spPr>
          <a:xfrm>
            <a:off x="2214663" y="4337566"/>
            <a:ext cx="0" cy="118288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80A80ED5-337B-8EC8-7667-CBD70C280FF7}"/>
              </a:ext>
            </a:extLst>
          </p:cNvPr>
          <p:cNvCxnSpPr>
            <a:cxnSpLocks/>
          </p:cNvCxnSpPr>
          <p:nvPr/>
        </p:nvCxnSpPr>
        <p:spPr>
          <a:xfrm flipH="1">
            <a:off x="8641678" y="2383430"/>
            <a:ext cx="1238656" cy="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5757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70241-7DB6-A791-F170-E3653413F53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29DF768-4E31-230C-E64A-85BF9344BE1E}"/>
              </a:ext>
            </a:extLst>
          </p:cNvPr>
          <p:cNvSpPr>
            <a:spLocks noGrp="1"/>
          </p:cNvSpPr>
          <p:nvPr>
            <p:ph type="title"/>
          </p:nvPr>
        </p:nvSpPr>
        <p:spPr/>
        <p:txBody>
          <a:bodyPr/>
          <a:lstStyle/>
          <a:p>
            <a:r>
              <a:rPr lang="en-US" dirty="0"/>
              <a:t>Problem @ 2GHz – Recap</a:t>
            </a:r>
            <a:endParaRPr lang="tr-TR" dirty="0"/>
          </a:p>
        </p:txBody>
      </p:sp>
      <p:sp>
        <p:nvSpPr>
          <p:cNvPr id="4" name="Footer Placeholder 3">
            <a:extLst>
              <a:ext uri="{FF2B5EF4-FFF2-40B4-BE49-F238E27FC236}">
                <a16:creationId xmlns:a16="http://schemas.microsoft.com/office/drawing/2014/main" id="{9CC158FD-9D24-FEA8-8747-76986E478E5D}"/>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D45E0B8C-C15D-BBAB-CE06-FA562BEC3254}"/>
              </a:ext>
            </a:extLst>
          </p:cNvPr>
          <p:cNvSpPr>
            <a:spLocks noGrp="1"/>
          </p:cNvSpPr>
          <p:nvPr>
            <p:ph type="sldNum" sz="quarter" idx="16"/>
          </p:nvPr>
        </p:nvSpPr>
        <p:spPr/>
        <p:txBody>
          <a:bodyPr/>
          <a:lstStyle/>
          <a:p>
            <a:r>
              <a:rPr lang="en-US"/>
              <a:t> </a:t>
            </a:r>
          </a:p>
        </p:txBody>
      </p:sp>
      <p:pic>
        <p:nvPicPr>
          <p:cNvPr id="8" name="Content Placeholder 7" descr="A graph of different colored lines&#10;&#10;AI-generated content may be incorrect.">
            <a:extLst>
              <a:ext uri="{FF2B5EF4-FFF2-40B4-BE49-F238E27FC236}">
                <a16:creationId xmlns:a16="http://schemas.microsoft.com/office/drawing/2014/main" id="{4040B0DA-3E63-740B-2B24-62863DBBF9FF}"/>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115449" y="1171123"/>
            <a:ext cx="11961101" cy="5005942"/>
          </a:xfrm>
        </p:spPr>
      </p:pic>
      <p:cxnSp>
        <p:nvCxnSpPr>
          <p:cNvPr id="2" name="Straight Arrow Connector 1">
            <a:extLst>
              <a:ext uri="{FF2B5EF4-FFF2-40B4-BE49-F238E27FC236}">
                <a16:creationId xmlns:a16="http://schemas.microsoft.com/office/drawing/2014/main" id="{3DA6924E-7BAE-D899-E965-979FD482E02A}"/>
              </a:ext>
            </a:extLst>
          </p:cNvPr>
          <p:cNvCxnSpPr>
            <a:cxnSpLocks/>
          </p:cNvCxnSpPr>
          <p:nvPr/>
        </p:nvCxnSpPr>
        <p:spPr>
          <a:xfrm flipV="1">
            <a:off x="11089532" y="4299779"/>
            <a:ext cx="580417" cy="103098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97435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244324-1CD5-8F06-23CD-35479BF9C87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C863472-DA97-5797-8C27-915C7C21B12B}"/>
              </a:ext>
            </a:extLst>
          </p:cNvPr>
          <p:cNvSpPr>
            <a:spLocks noGrp="1"/>
          </p:cNvSpPr>
          <p:nvPr>
            <p:ph type="title"/>
          </p:nvPr>
        </p:nvSpPr>
        <p:spPr>
          <a:xfrm>
            <a:off x="445713" y="1517515"/>
            <a:ext cx="11300573" cy="2779921"/>
          </a:xfrm>
        </p:spPr>
        <p:txBody>
          <a:bodyPr/>
          <a:lstStyle/>
          <a:p>
            <a:pPr algn="ctr"/>
            <a:r>
              <a:rPr lang="en-US" sz="3600" dirty="0"/>
              <a:t> </a:t>
            </a:r>
            <a:br>
              <a:rPr lang="en-US" sz="3600" dirty="0"/>
            </a:br>
            <a:r>
              <a:rPr lang="en-US" sz="3600" dirty="0"/>
              <a:t>Final Checking:</a:t>
            </a:r>
            <a:br>
              <a:rPr lang="en-US" sz="3600" dirty="0"/>
            </a:br>
            <a:r>
              <a:rPr lang="en-US" sz="3600" dirty="0"/>
              <a:t>Set Up - Revised</a:t>
            </a:r>
          </a:p>
        </p:txBody>
      </p:sp>
    </p:spTree>
    <p:extLst>
      <p:ext uri="{BB962C8B-B14F-4D97-AF65-F5344CB8AC3E}">
        <p14:creationId xmlns:p14="http://schemas.microsoft.com/office/powerpoint/2010/main" val="16595931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5A8618-7AF8-3295-D0F8-D8138BC9E8E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603442C-E7B4-E784-E8B6-80661A77EEBE}"/>
              </a:ext>
            </a:extLst>
          </p:cNvPr>
          <p:cNvSpPr>
            <a:spLocks noGrp="1"/>
          </p:cNvSpPr>
          <p:nvPr>
            <p:ph sz="quarter" idx="13"/>
          </p:nvPr>
        </p:nvSpPr>
        <p:spPr/>
        <p:txBody>
          <a:bodyPr/>
          <a:lstStyle/>
          <a:p>
            <a:r>
              <a:rPr lang="en-US" i="1" dirty="0"/>
              <a:t>Purpose</a:t>
            </a:r>
            <a:r>
              <a:rPr lang="en-US" dirty="0"/>
              <a:t>: Based on previous results, using a polynomial order of 9 and a memory order of 5 provides approximately -80 dB at 2 GHz, which matches our target. We need to verify whether this configuration is suitable for other frequencies as well. </a:t>
            </a:r>
          </a:p>
          <a:p>
            <a:endParaRPr lang="en-US" dirty="0"/>
          </a:p>
          <a:p>
            <a:r>
              <a:rPr lang="en-US" i="1" dirty="0"/>
              <a:t>Step 1</a:t>
            </a:r>
            <a:r>
              <a:rPr lang="en-US" dirty="0"/>
              <a:t>: Take the signal of input and output @ 1 GHz, 1.5GHz and 2 GHz.</a:t>
            </a:r>
          </a:p>
          <a:p>
            <a:r>
              <a:rPr lang="en-US" i="1" dirty="0"/>
              <a:t>Step 2</a:t>
            </a:r>
            <a:r>
              <a:rPr lang="en-US" dirty="0"/>
              <a:t>: Perform calibration with varying memory orders while keeping the polynomial order fixed at 9.</a:t>
            </a:r>
          </a:p>
          <a:p>
            <a:r>
              <a:rPr lang="en-US" i="1" dirty="0"/>
              <a:t>Step 3: </a:t>
            </a:r>
            <a:r>
              <a:rPr lang="en-US" dirty="0"/>
              <a:t>Calculate THD values for the input, output and calibrated waveforms. </a:t>
            </a:r>
            <a:r>
              <a:rPr lang="en-US" b="1" dirty="0"/>
              <a:t>(</a:t>
            </a:r>
            <a:r>
              <a:rPr lang="en-US" b="1" i="1" dirty="0"/>
              <a:t>#ofHarmonics is 9 @1.5 GHz, 15 otherwise</a:t>
            </a:r>
            <a:r>
              <a:rPr lang="en-US" b="1" dirty="0"/>
              <a:t>)</a:t>
            </a:r>
          </a:p>
          <a:p>
            <a:r>
              <a:rPr lang="en-US" i="1" dirty="0"/>
              <a:t>Step 4: </a:t>
            </a:r>
            <a:r>
              <a:rPr lang="en-US" dirty="0"/>
              <a:t>Plot and compare all results in a plot.</a:t>
            </a:r>
            <a:endParaRPr lang="tr-TR" i="1" dirty="0"/>
          </a:p>
        </p:txBody>
      </p:sp>
      <p:sp>
        <p:nvSpPr>
          <p:cNvPr id="3" name="Title 2">
            <a:extLst>
              <a:ext uri="{FF2B5EF4-FFF2-40B4-BE49-F238E27FC236}">
                <a16:creationId xmlns:a16="http://schemas.microsoft.com/office/drawing/2014/main" id="{E8293902-738E-6929-A7C8-1E6A086B208A}"/>
              </a:ext>
            </a:extLst>
          </p:cNvPr>
          <p:cNvSpPr>
            <a:spLocks noGrp="1"/>
          </p:cNvSpPr>
          <p:nvPr>
            <p:ph type="title"/>
          </p:nvPr>
        </p:nvSpPr>
        <p:spPr/>
        <p:txBody>
          <a:bodyPr/>
          <a:lstStyle/>
          <a:p>
            <a:r>
              <a:rPr lang="en-US" dirty="0"/>
              <a:t> </a:t>
            </a:r>
            <a:br>
              <a:rPr lang="en-US" dirty="0"/>
            </a:br>
            <a:br>
              <a:rPr lang="en-US" dirty="0"/>
            </a:br>
            <a:r>
              <a:rPr lang="en-US" dirty="0"/>
              <a:t>Final Checking: Set Up - Revised</a:t>
            </a:r>
            <a:endParaRPr lang="tr-TR" dirty="0"/>
          </a:p>
        </p:txBody>
      </p:sp>
      <p:sp>
        <p:nvSpPr>
          <p:cNvPr id="4" name="Footer Placeholder 3">
            <a:extLst>
              <a:ext uri="{FF2B5EF4-FFF2-40B4-BE49-F238E27FC236}">
                <a16:creationId xmlns:a16="http://schemas.microsoft.com/office/drawing/2014/main" id="{4F59CEDD-EA5C-7761-1F1F-59F7F07B30E1}"/>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F7C7AF2A-E4CB-EB45-A53E-90551856B87E}"/>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15859066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2CC6C7-355B-40C2-57F5-A346B021599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D638F39-AACE-8778-6764-9560BF995A2A}"/>
              </a:ext>
            </a:extLst>
          </p:cNvPr>
          <p:cNvSpPr>
            <a:spLocks noGrp="1"/>
          </p:cNvSpPr>
          <p:nvPr>
            <p:ph type="title"/>
          </p:nvPr>
        </p:nvSpPr>
        <p:spPr>
          <a:xfrm>
            <a:off x="445713" y="1517515"/>
            <a:ext cx="11300573" cy="2779921"/>
          </a:xfrm>
        </p:spPr>
        <p:txBody>
          <a:bodyPr/>
          <a:lstStyle/>
          <a:p>
            <a:pPr algn="ctr"/>
            <a:r>
              <a:rPr lang="en-US" sz="3600" dirty="0"/>
              <a:t> </a:t>
            </a:r>
            <a:br>
              <a:rPr lang="en-US" sz="3600" dirty="0"/>
            </a:br>
            <a:r>
              <a:rPr lang="en-US" sz="3600" dirty="0"/>
              <a:t>Final Checking:</a:t>
            </a:r>
            <a:br>
              <a:rPr lang="en-US" sz="3600" dirty="0"/>
            </a:br>
            <a:r>
              <a:rPr lang="en-US" sz="3600" dirty="0"/>
              <a:t>Results - Revised</a:t>
            </a:r>
          </a:p>
        </p:txBody>
      </p:sp>
    </p:spTree>
    <p:extLst>
      <p:ext uri="{BB962C8B-B14F-4D97-AF65-F5344CB8AC3E}">
        <p14:creationId xmlns:p14="http://schemas.microsoft.com/office/powerpoint/2010/main" val="12592035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1B5723-91F0-CFF0-89C2-C7F32E627FE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7684820-F0A8-5DE6-4157-05654A42BC04}"/>
              </a:ext>
            </a:extLst>
          </p:cNvPr>
          <p:cNvSpPr>
            <a:spLocks noGrp="1"/>
          </p:cNvSpPr>
          <p:nvPr>
            <p:ph type="title"/>
          </p:nvPr>
        </p:nvSpPr>
        <p:spPr/>
        <p:txBody>
          <a:bodyPr/>
          <a:lstStyle/>
          <a:p>
            <a:r>
              <a:rPr lang="en-US" dirty="0"/>
              <a:t>Final Checking – Results - Revised</a:t>
            </a:r>
            <a:endParaRPr lang="tr-TR" dirty="0"/>
          </a:p>
        </p:txBody>
      </p:sp>
      <p:sp>
        <p:nvSpPr>
          <p:cNvPr id="4" name="Footer Placeholder 3">
            <a:extLst>
              <a:ext uri="{FF2B5EF4-FFF2-40B4-BE49-F238E27FC236}">
                <a16:creationId xmlns:a16="http://schemas.microsoft.com/office/drawing/2014/main" id="{15E244EF-984E-644F-0020-64641E2C815F}"/>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A7B87840-AF8F-069B-88FF-E31C489C07AF}"/>
              </a:ext>
            </a:extLst>
          </p:cNvPr>
          <p:cNvSpPr>
            <a:spLocks noGrp="1"/>
          </p:cNvSpPr>
          <p:nvPr>
            <p:ph type="sldNum" sz="quarter" idx="16"/>
          </p:nvPr>
        </p:nvSpPr>
        <p:spPr/>
        <p:txBody>
          <a:bodyPr/>
          <a:lstStyle/>
          <a:p>
            <a:r>
              <a:rPr lang="en-US"/>
              <a:t> </a:t>
            </a:r>
          </a:p>
        </p:txBody>
      </p:sp>
      <p:pic>
        <p:nvPicPr>
          <p:cNvPr id="8" name="Content Placeholder 7" descr="A graph of different colored lines&#10;&#10;AI-generated content may be incorrect.">
            <a:extLst>
              <a:ext uri="{FF2B5EF4-FFF2-40B4-BE49-F238E27FC236}">
                <a16:creationId xmlns:a16="http://schemas.microsoft.com/office/drawing/2014/main" id="{63333C16-708B-0BC8-EAC2-E27620343E76}"/>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115449" y="1171123"/>
            <a:ext cx="11961101" cy="5005942"/>
          </a:xfrm>
        </p:spPr>
      </p:pic>
    </p:spTree>
    <p:extLst>
      <p:ext uri="{BB962C8B-B14F-4D97-AF65-F5344CB8AC3E}">
        <p14:creationId xmlns:p14="http://schemas.microsoft.com/office/powerpoint/2010/main" val="13201787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A5375A-698E-335A-29C7-C821DE92A02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8B56F7D-87B9-3A45-30A2-0B8B2BE62EF7}"/>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Approaching an ideal calibration:</a:t>
            </a:r>
            <a:br>
              <a:rPr lang="en-US" sz="3600" dirty="0"/>
            </a:br>
            <a:r>
              <a:rPr lang="en-US" sz="3600" dirty="0"/>
              <a:t>Set Up</a:t>
            </a:r>
          </a:p>
        </p:txBody>
      </p:sp>
    </p:spTree>
    <p:extLst>
      <p:ext uri="{BB962C8B-B14F-4D97-AF65-F5344CB8AC3E}">
        <p14:creationId xmlns:p14="http://schemas.microsoft.com/office/powerpoint/2010/main" val="20321399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2180D-64D6-CBBD-1F4D-AE1E8B144D6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9494048-6A8F-73B7-AEF5-1DB53E0924A4}"/>
              </a:ext>
            </a:extLst>
          </p:cNvPr>
          <p:cNvSpPr>
            <a:spLocks noGrp="1"/>
          </p:cNvSpPr>
          <p:nvPr>
            <p:ph sz="quarter" idx="13"/>
          </p:nvPr>
        </p:nvSpPr>
        <p:spPr/>
        <p:txBody>
          <a:bodyPr/>
          <a:lstStyle/>
          <a:p>
            <a:r>
              <a:rPr lang="en-US" i="1" dirty="0"/>
              <a:t>Purpose</a:t>
            </a:r>
            <a:r>
              <a:rPr lang="en-US" dirty="0"/>
              <a:t>: We want to make sure that the signal can be reversed by using an ideal calibration (infinite number of coefficients) . </a:t>
            </a:r>
          </a:p>
          <a:p>
            <a:endParaRPr lang="en-US" dirty="0"/>
          </a:p>
          <a:p>
            <a:r>
              <a:rPr lang="en-US" i="1" dirty="0"/>
              <a:t>Step 1</a:t>
            </a:r>
            <a:r>
              <a:rPr lang="en-US" dirty="0"/>
              <a:t>: Take the signal of input and output @ 1 GHz, 1.5GHz and 2 GHz.</a:t>
            </a:r>
          </a:p>
          <a:p>
            <a:r>
              <a:rPr lang="en-US" i="1" dirty="0"/>
              <a:t>Step 2</a:t>
            </a:r>
            <a:r>
              <a:rPr lang="en-US" dirty="0"/>
              <a:t>: Perform calibration with varying memory orders while keeping the polynomial order fixed at 9.</a:t>
            </a:r>
          </a:p>
          <a:p>
            <a:r>
              <a:rPr lang="en-US" i="1" dirty="0"/>
              <a:t>Step 3: </a:t>
            </a:r>
            <a:r>
              <a:rPr lang="en-US" dirty="0"/>
              <a:t>Calculate THD values for the input, output and calibrated waveforms. (</a:t>
            </a:r>
            <a:r>
              <a:rPr lang="en-US" i="1" dirty="0"/>
              <a:t>#ofHarmonics is 9 @1.5 GHz, 15 otherwise</a:t>
            </a:r>
            <a:r>
              <a:rPr lang="en-US" dirty="0"/>
              <a:t>)</a:t>
            </a:r>
          </a:p>
          <a:p>
            <a:r>
              <a:rPr lang="en-US" i="1" dirty="0"/>
              <a:t>Step 4: </a:t>
            </a:r>
            <a:r>
              <a:rPr lang="en-US" dirty="0"/>
              <a:t>Plot and compare all results in a plot.</a:t>
            </a:r>
            <a:endParaRPr lang="tr-TR" i="1" dirty="0"/>
          </a:p>
        </p:txBody>
      </p:sp>
      <p:sp>
        <p:nvSpPr>
          <p:cNvPr id="3" name="Title 2">
            <a:extLst>
              <a:ext uri="{FF2B5EF4-FFF2-40B4-BE49-F238E27FC236}">
                <a16:creationId xmlns:a16="http://schemas.microsoft.com/office/drawing/2014/main" id="{9BE41D15-EA1A-7CC3-BF3A-FF7757F65590}"/>
              </a:ext>
            </a:extLst>
          </p:cNvPr>
          <p:cNvSpPr>
            <a:spLocks noGrp="1"/>
          </p:cNvSpPr>
          <p:nvPr>
            <p:ph type="title"/>
          </p:nvPr>
        </p:nvSpPr>
        <p:spPr/>
        <p:txBody>
          <a:bodyPr/>
          <a:lstStyle/>
          <a:p>
            <a:br>
              <a:rPr lang="en-US" dirty="0"/>
            </a:br>
            <a:r>
              <a:rPr lang="en-US" dirty="0"/>
              <a:t>Approaching an ideal calibration: Set Up</a:t>
            </a:r>
            <a:endParaRPr lang="tr-TR" dirty="0"/>
          </a:p>
        </p:txBody>
      </p:sp>
      <p:sp>
        <p:nvSpPr>
          <p:cNvPr id="4" name="Footer Placeholder 3">
            <a:extLst>
              <a:ext uri="{FF2B5EF4-FFF2-40B4-BE49-F238E27FC236}">
                <a16:creationId xmlns:a16="http://schemas.microsoft.com/office/drawing/2014/main" id="{96D97B6C-ECF3-629B-8FD3-B79DBA5D3A97}"/>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7FB7C1D7-9EC8-B928-A614-CA6B8ADCD2E0}"/>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20763238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365175-1D8E-5331-6F2A-DC4A1DFD0CE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82DF17E-B136-5B30-9C5C-CFF3F1D167C9}"/>
              </a:ext>
            </a:extLst>
          </p:cNvPr>
          <p:cNvSpPr>
            <a:spLocks noGrp="1"/>
          </p:cNvSpPr>
          <p:nvPr>
            <p:ph type="title"/>
          </p:nvPr>
        </p:nvSpPr>
        <p:spPr>
          <a:xfrm>
            <a:off x="445713" y="1517515"/>
            <a:ext cx="11300573" cy="2779921"/>
          </a:xfrm>
        </p:spPr>
        <p:txBody>
          <a:bodyPr/>
          <a:lstStyle/>
          <a:p>
            <a:pPr algn="ctr"/>
            <a:r>
              <a:rPr lang="en-US" sz="3600" dirty="0"/>
              <a:t>Approaching an ideal calibration:</a:t>
            </a:r>
            <a:br>
              <a:rPr lang="en-US" sz="3600" dirty="0"/>
            </a:br>
            <a:r>
              <a:rPr lang="en-US" sz="3600" dirty="0"/>
              <a:t>Results</a:t>
            </a:r>
          </a:p>
        </p:txBody>
      </p:sp>
    </p:spTree>
    <p:extLst>
      <p:ext uri="{BB962C8B-B14F-4D97-AF65-F5344CB8AC3E}">
        <p14:creationId xmlns:p14="http://schemas.microsoft.com/office/powerpoint/2010/main" val="33568878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377AD7-9A25-B505-D783-BC2AC1AE893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ABDF410-F053-5542-20A2-D1495C8D96A2}"/>
              </a:ext>
            </a:extLst>
          </p:cNvPr>
          <p:cNvSpPr>
            <a:spLocks noGrp="1"/>
          </p:cNvSpPr>
          <p:nvPr>
            <p:ph type="title"/>
          </p:nvPr>
        </p:nvSpPr>
        <p:spPr/>
        <p:txBody>
          <a:bodyPr/>
          <a:lstStyle/>
          <a:p>
            <a:r>
              <a:rPr lang="en-US" dirty="0"/>
              <a:t>Approaching an ideal calibration - Results</a:t>
            </a:r>
            <a:endParaRPr lang="tr-TR" dirty="0"/>
          </a:p>
        </p:txBody>
      </p:sp>
      <p:sp>
        <p:nvSpPr>
          <p:cNvPr id="4" name="Footer Placeholder 3">
            <a:extLst>
              <a:ext uri="{FF2B5EF4-FFF2-40B4-BE49-F238E27FC236}">
                <a16:creationId xmlns:a16="http://schemas.microsoft.com/office/drawing/2014/main" id="{375D18E6-B0DE-932F-8B3E-DAD249BC654D}"/>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B61964AD-4FE0-4CDE-2390-5E798DC40F28}"/>
              </a:ext>
            </a:extLst>
          </p:cNvPr>
          <p:cNvSpPr>
            <a:spLocks noGrp="1"/>
          </p:cNvSpPr>
          <p:nvPr>
            <p:ph type="sldNum" sz="quarter" idx="16"/>
          </p:nvPr>
        </p:nvSpPr>
        <p:spPr/>
        <p:txBody>
          <a:bodyPr/>
          <a:lstStyle/>
          <a:p>
            <a:r>
              <a:rPr lang="en-US"/>
              <a:t> </a:t>
            </a:r>
          </a:p>
        </p:txBody>
      </p:sp>
      <p:pic>
        <p:nvPicPr>
          <p:cNvPr id="9" name="Content Placeholder 8" descr="A graph of different frequency&#10;&#10;AI-generated content may be incorrect.">
            <a:extLst>
              <a:ext uri="{FF2B5EF4-FFF2-40B4-BE49-F238E27FC236}">
                <a16:creationId xmlns:a16="http://schemas.microsoft.com/office/drawing/2014/main" id="{A56490A6-5BD5-5CAB-B5A1-95EDBB0D9DAF}"/>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334963" y="1376265"/>
            <a:ext cx="11520487" cy="4897633"/>
          </a:xfrm>
        </p:spPr>
      </p:pic>
      <p:cxnSp>
        <p:nvCxnSpPr>
          <p:cNvPr id="10" name="Straight Arrow Connector 9">
            <a:extLst>
              <a:ext uri="{FF2B5EF4-FFF2-40B4-BE49-F238E27FC236}">
                <a16:creationId xmlns:a16="http://schemas.microsoft.com/office/drawing/2014/main" id="{26619E17-3E67-1A89-1730-369024FBDD4D}"/>
              </a:ext>
            </a:extLst>
          </p:cNvPr>
          <p:cNvCxnSpPr>
            <a:cxnSpLocks/>
          </p:cNvCxnSpPr>
          <p:nvPr/>
        </p:nvCxnSpPr>
        <p:spPr>
          <a:xfrm flipH="1">
            <a:off x="1173804" y="4046706"/>
            <a:ext cx="1258110" cy="515874"/>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B9C8D13-321C-4584-FD36-70040C9E1C38}"/>
              </a:ext>
            </a:extLst>
          </p:cNvPr>
          <p:cNvCxnSpPr>
            <a:cxnSpLocks/>
          </p:cNvCxnSpPr>
          <p:nvPr/>
        </p:nvCxnSpPr>
        <p:spPr>
          <a:xfrm flipV="1">
            <a:off x="11018196" y="4137071"/>
            <a:ext cx="476655" cy="85101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87256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51E902-2BB6-CC45-7206-FB10F519FF2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8535830-7A27-1796-6351-9D7A96AD3CE8}"/>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Approaching an ideal calibration:</a:t>
            </a:r>
            <a:br>
              <a:rPr lang="en-US" sz="3600" dirty="0"/>
            </a:br>
            <a:r>
              <a:rPr lang="en-US" sz="3600" dirty="0"/>
              <a:t>Set Up - Reviewed</a:t>
            </a:r>
          </a:p>
        </p:txBody>
      </p:sp>
    </p:spTree>
    <p:extLst>
      <p:ext uri="{BB962C8B-B14F-4D97-AF65-F5344CB8AC3E}">
        <p14:creationId xmlns:p14="http://schemas.microsoft.com/office/powerpoint/2010/main" val="6644678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B6B2D-AB47-730E-56FE-9F8AE9A342C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3FF426A-BACC-78F4-8434-2381B4E54EB5}"/>
              </a:ext>
            </a:extLst>
          </p:cNvPr>
          <p:cNvSpPr>
            <a:spLocks noGrp="1"/>
          </p:cNvSpPr>
          <p:nvPr>
            <p:ph sz="quarter" idx="13"/>
          </p:nvPr>
        </p:nvSpPr>
        <p:spPr/>
        <p:txBody>
          <a:bodyPr/>
          <a:lstStyle/>
          <a:p>
            <a:r>
              <a:rPr lang="en-US" i="1" dirty="0"/>
              <a:t>Purpose</a:t>
            </a:r>
            <a:r>
              <a:rPr lang="en-US" dirty="0"/>
              <a:t>: We want to make sure that the signal can be reversed by using an ideal calibration (infinite number of coefficients) . </a:t>
            </a:r>
          </a:p>
          <a:p>
            <a:endParaRPr lang="en-US" dirty="0"/>
          </a:p>
          <a:p>
            <a:r>
              <a:rPr lang="en-US" i="1" dirty="0"/>
              <a:t>Step 1</a:t>
            </a:r>
            <a:r>
              <a:rPr lang="en-US" dirty="0"/>
              <a:t>: Take the signal of input and output @ 1 GHz, 1.5GHz and 2 GHz.</a:t>
            </a:r>
          </a:p>
          <a:p>
            <a:r>
              <a:rPr lang="en-US" i="1" dirty="0"/>
              <a:t>Step 2</a:t>
            </a:r>
            <a:r>
              <a:rPr lang="en-US" dirty="0"/>
              <a:t>: Perform calibration with </a:t>
            </a:r>
            <a:r>
              <a:rPr lang="en-US" b="1" dirty="0"/>
              <a:t>really high memory orders</a:t>
            </a:r>
            <a:r>
              <a:rPr lang="en-US" dirty="0"/>
              <a:t> while keeping the polynomial order fixed at 9.</a:t>
            </a:r>
          </a:p>
          <a:p>
            <a:r>
              <a:rPr lang="en-US" i="1" dirty="0"/>
              <a:t>Step 3: </a:t>
            </a:r>
            <a:r>
              <a:rPr lang="en-US" dirty="0"/>
              <a:t>Calculate THD values for the input, output and calibrated waveforms. </a:t>
            </a:r>
            <a:r>
              <a:rPr lang="en-US" b="1" dirty="0"/>
              <a:t>(</a:t>
            </a:r>
            <a:r>
              <a:rPr lang="en-US" b="1" i="1" dirty="0"/>
              <a:t>#ofHarmonics is 9 @ all cases</a:t>
            </a:r>
            <a:r>
              <a:rPr lang="en-US" b="1" dirty="0"/>
              <a:t>)</a:t>
            </a:r>
          </a:p>
          <a:p>
            <a:r>
              <a:rPr lang="en-US" i="1" dirty="0"/>
              <a:t>Step 4: </a:t>
            </a:r>
            <a:r>
              <a:rPr lang="en-US" dirty="0"/>
              <a:t>Plot and compare all results in a plot.</a:t>
            </a:r>
            <a:endParaRPr lang="tr-TR" i="1" dirty="0"/>
          </a:p>
        </p:txBody>
      </p:sp>
      <p:sp>
        <p:nvSpPr>
          <p:cNvPr id="3" name="Title 2">
            <a:extLst>
              <a:ext uri="{FF2B5EF4-FFF2-40B4-BE49-F238E27FC236}">
                <a16:creationId xmlns:a16="http://schemas.microsoft.com/office/drawing/2014/main" id="{8ED31237-54BF-4A33-5D87-312437F4397F}"/>
              </a:ext>
            </a:extLst>
          </p:cNvPr>
          <p:cNvSpPr>
            <a:spLocks noGrp="1"/>
          </p:cNvSpPr>
          <p:nvPr>
            <p:ph type="title"/>
          </p:nvPr>
        </p:nvSpPr>
        <p:spPr/>
        <p:txBody>
          <a:bodyPr/>
          <a:lstStyle/>
          <a:p>
            <a:br>
              <a:rPr lang="en-US" dirty="0"/>
            </a:br>
            <a:r>
              <a:rPr lang="en-US" dirty="0"/>
              <a:t>Approaching an ideal calibration: Set Up - Reviewed</a:t>
            </a:r>
            <a:endParaRPr lang="tr-TR" dirty="0"/>
          </a:p>
        </p:txBody>
      </p:sp>
      <p:sp>
        <p:nvSpPr>
          <p:cNvPr id="4" name="Footer Placeholder 3">
            <a:extLst>
              <a:ext uri="{FF2B5EF4-FFF2-40B4-BE49-F238E27FC236}">
                <a16:creationId xmlns:a16="http://schemas.microsoft.com/office/drawing/2014/main" id="{864CED26-882A-13E6-AF73-7C4B4F37EF1B}"/>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86267473-3A34-8DBD-02DC-F30AB74890FA}"/>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36533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5F4105-0C0D-D420-0377-491E5483EDE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AD3F4B6-EBD7-5F4C-3120-68B4FF02A0CD}"/>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Problem @ 2GHz :</a:t>
            </a:r>
            <a:br>
              <a:rPr lang="en-US" sz="3600" dirty="0"/>
            </a:br>
            <a:r>
              <a:rPr lang="en-US" sz="3600" dirty="0"/>
              <a:t>Solution</a:t>
            </a:r>
          </a:p>
        </p:txBody>
      </p:sp>
    </p:spTree>
    <p:extLst>
      <p:ext uri="{BB962C8B-B14F-4D97-AF65-F5344CB8AC3E}">
        <p14:creationId xmlns:p14="http://schemas.microsoft.com/office/powerpoint/2010/main" val="11934614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DC6ED1-8171-9935-38AC-ACB8A286CD7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028EDD7-C666-6138-F775-0DC4A3D8CC13}"/>
              </a:ext>
            </a:extLst>
          </p:cNvPr>
          <p:cNvSpPr>
            <a:spLocks noGrp="1"/>
          </p:cNvSpPr>
          <p:nvPr>
            <p:ph type="title"/>
          </p:nvPr>
        </p:nvSpPr>
        <p:spPr/>
        <p:txBody>
          <a:bodyPr/>
          <a:lstStyle/>
          <a:p>
            <a:r>
              <a:rPr lang="en-US" dirty="0"/>
              <a:t>Approaching an ideal calibration – Results - Reviewed</a:t>
            </a:r>
            <a:endParaRPr lang="tr-TR" dirty="0"/>
          </a:p>
        </p:txBody>
      </p:sp>
      <p:sp>
        <p:nvSpPr>
          <p:cNvPr id="4" name="Footer Placeholder 3">
            <a:extLst>
              <a:ext uri="{FF2B5EF4-FFF2-40B4-BE49-F238E27FC236}">
                <a16:creationId xmlns:a16="http://schemas.microsoft.com/office/drawing/2014/main" id="{47F079B6-E584-9165-CB6F-E00F55AD504B}"/>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69446F41-896A-B0F6-90EC-863755842C27}"/>
              </a:ext>
            </a:extLst>
          </p:cNvPr>
          <p:cNvSpPr>
            <a:spLocks noGrp="1"/>
          </p:cNvSpPr>
          <p:nvPr>
            <p:ph type="sldNum" sz="quarter" idx="16"/>
          </p:nvPr>
        </p:nvSpPr>
        <p:spPr/>
        <p:txBody>
          <a:bodyPr/>
          <a:lstStyle/>
          <a:p>
            <a:r>
              <a:rPr lang="en-US"/>
              <a:t> </a:t>
            </a:r>
          </a:p>
        </p:txBody>
      </p:sp>
      <p:cxnSp>
        <p:nvCxnSpPr>
          <p:cNvPr id="10" name="Straight Arrow Connector 9">
            <a:extLst>
              <a:ext uri="{FF2B5EF4-FFF2-40B4-BE49-F238E27FC236}">
                <a16:creationId xmlns:a16="http://schemas.microsoft.com/office/drawing/2014/main" id="{3874C80E-F6A1-5B4D-882D-5323F4D4BB0D}"/>
              </a:ext>
            </a:extLst>
          </p:cNvPr>
          <p:cNvCxnSpPr>
            <a:cxnSpLocks/>
          </p:cNvCxnSpPr>
          <p:nvPr/>
        </p:nvCxnSpPr>
        <p:spPr>
          <a:xfrm flipH="1">
            <a:off x="1173804" y="4046706"/>
            <a:ext cx="1258110" cy="515874"/>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2CAC5102-BE28-B0EE-2854-32BEE959181A}"/>
              </a:ext>
            </a:extLst>
          </p:cNvPr>
          <p:cNvCxnSpPr>
            <a:cxnSpLocks/>
          </p:cNvCxnSpPr>
          <p:nvPr/>
        </p:nvCxnSpPr>
        <p:spPr>
          <a:xfrm flipV="1">
            <a:off x="11018196" y="4137071"/>
            <a:ext cx="476655" cy="85101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6" name="Picture 5" descr="A graph of different colored lines&#10;&#10;AI-generated content may be incorrect.">
            <a:extLst>
              <a:ext uri="{FF2B5EF4-FFF2-40B4-BE49-F238E27FC236}">
                <a16:creationId xmlns:a16="http://schemas.microsoft.com/office/drawing/2014/main" id="{216DF03B-A0BA-1895-055F-F76AC177F7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0" y="1210048"/>
            <a:ext cx="12192000" cy="5243465"/>
          </a:xfrm>
          <a:prstGeom prst="rect">
            <a:avLst/>
          </a:prstGeom>
        </p:spPr>
      </p:pic>
      <p:cxnSp>
        <p:nvCxnSpPr>
          <p:cNvPr id="11" name="Straight Arrow Connector 10">
            <a:extLst>
              <a:ext uri="{FF2B5EF4-FFF2-40B4-BE49-F238E27FC236}">
                <a16:creationId xmlns:a16="http://schemas.microsoft.com/office/drawing/2014/main" id="{38EFE8E9-F184-F906-5579-1C2EB204B711}"/>
              </a:ext>
            </a:extLst>
          </p:cNvPr>
          <p:cNvCxnSpPr>
            <a:cxnSpLocks/>
          </p:cNvCxnSpPr>
          <p:nvPr/>
        </p:nvCxnSpPr>
        <p:spPr>
          <a:xfrm flipH="1">
            <a:off x="879754" y="4304643"/>
            <a:ext cx="1258110" cy="515874"/>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27B5085-6C12-F6D0-9FBB-00F8997E97BB}"/>
              </a:ext>
            </a:extLst>
          </p:cNvPr>
          <p:cNvCxnSpPr>
            <a:cxnSpLocks/>
          </p:cNvCxnSpPr>
          <p:nvPr/>
        </p:nvCxnSpPr>
        <p:spPr>
          <a:xfrm flipV="1">
            <a:off x="11318731" y="4304643"/>
            <a:ext cx="476655" cy="85101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79045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244F14-E346-4EBA-3F4B-EF0EBA50ED3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7B2617F-AADD-699D-C659-B4CB4E280573}"/>
              </a:ext>
            </a:extLst>
          </p:cNvPr>
          <p:cNvSpPr>
            <a:spLocks noGrp="1"/>
          </p:cNvSpPr>
          <p:nvPr>
            <p:ph type="title"/>
          </p:nvPr>
        </p:nvSpPr>
        <p:spPr>
          <a:xfrm>
            <a:off x="445713" y="1517515"/>
            <a:ext cx="11300573" cy="2779921"/>
          </a:xfrm>
        </p:spPr>
        <p:txBody>
          <a:bodyPr/>
          <a:lstStyle/>
          <a:p>
            <a:pPr algn="ctr"/>
            <a:r>
              <a:rPr lang="en-US" sz="3600" dirty="0"/>
              <a:t>Approaching an ideal calibration:</a:t>
            </a:r>
            <a:br>
              <a:rPr lang="en-US" sz="3600" dirty="0"/>
            </a:br>
            <a:r>
              <a:rPr lang="en-US" sz="3600" dirty="0"/>
              <a:t>Problem @1GHz</a:t>
            </a:r>
          </a:p>
        </p:txBody>
      </p:sp>
    </p:spTree>
    <p:extLst>
      <p:ext uri="{BB962C8B-B14F-4D97-AF65-F5344CB8AC3E}">
        <p14:creationId xmlns:p14="http://schemas.microsoft.com/office/powerpoint/2010/main" val="14709505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0AADEB-5345-2435-E342-63771B379A8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3AF3D1F-3E37-B303-314C-78B9FCBB30B0}"/>
              </a:ext>
            </a:extLst>
          </p:cNvPr>
          <p:cNvSpPr>
            <a:spLocks noGrp="1"/>
          </p:cNvSpPr>
          <p:nvPr>
            <p:ph type="title"/>
          </p:nvPr>
        </p:nvSpPr>
        <p:spPr/>
        <p:txBody>
          <a:bodyPr/>
          <a:lstStyle/>
          <a:p>
            <a:r>
              <a:rPr lang="en-US" dirty="0"/>
              <a:t>Approaching an ideal calibration – Problem @1GHz</a:t>
            </a:r>
            <a:endParaRPr lang="tr-TR" dirty="0"/>
          </a:p>
        </p:txBody>
      </p:sp>
      <p:sp>
        <p:nvSpPr>
          <p:cNvPr id="4" name="Footer Placeholder 3">
            <a:extLst>
              <a:ext uri="{FF2B5EF4-FFF2-40B4-BE49-F238E27FC236}">
                <a16:creationId xmlns:a16="http://schemas.microsoft.com/office/drawing/2014/main" id="{641C58C2-7128-248E-B5F4-18DBA0970E03}"/>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CD839F67-CA42-B6A7-5D45-4D78DF6A1B28}"/>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2DD18650-E317-03C7-0562-A9B481EDBC56}"/>
              </a:ext>
            </a:extLst>
          </p:cNvPr>
          <p:cNvSpPr>
            <a:spLocks noGrp="1"/>
          </p:cNvSpPr>
          <p:nvPr>
            <p:ph sz="quarter" idx="13"/>
          </p:nvPr>
        </p:nvSpPr>
        <p:spPr/>
        <p:txBody>
          <a:bodyPr/>
          <a:lstStyle/>
          <a:p>
            <a:r>
              <a:rPr lang="en-US" dirty="0"/>
              <a:t>Input Voltage Waveform @1GHz</a:t>
            </a:r>
            <a:endParaRPr lang="tr-TR" dirty="0"/>
          </a:p>
        </p:txBody>
      </p:sp>
      <p:pic>
        <p:nvPicPr>
          <p:cNvPr id="12" name="Picture 11" descr="A graph of a graph&#10;&#10;AI-generated content may be incorrect.">
            <a:extLst>
              <a:ext uri="{FF2B5EF4-FFF2-40B4-BE49-F238E27FC236}">
                <a16:creationId xmlns:a16="http://schemas.microsoft.com/office/drawing/2014/main" id="{4D46EDE1-B6CD-12D5-CDD3-205382E705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400" y="1687191"/>
            <a:ext cx="11857200" cy="5170809"/>
          </a:xfrm>
          <a:prstGeom prst="rect">
            <a:avLst/>
          </a:prstGeom>
        </p:spPr>
      </p:pic>
    </p:spTree>
    <p:extLst>
      <p:ext uri="{BB962C8B-B14F-4D97-AF65-F5344CB8AC3E}">
        <p14:creationId xmlns:p14="http://schemas.microsoft.com/office/powerpoint/2010/main" val="25067149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DE9E49-A611-9146-BC9A-E9625EF9A8C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B95DA1D-CC23-3919-28B9-F1BA4CD00362}"/>
              </a:ext>
            </a:extLst>
          </p:cNvPr>
          <p:cNvSpPr>
            <a:spLocks noGrp="1"/>
          </p:cNvSpPr>
          <p:nvPr>
            <p:ph type="title"/>
          </p:nvPr>
        </p:nvSpPr>
        <p:spPr/>
        <p:txBody>
          <a:bodyPr/>
          <a:lstStyle/>
          <a:p>
            <a:r>
              <a:rPr lang="en-US" dirty="0"/>
              <a:t>Approaching an ideal calibration – Problem @1GHz</a:t>
            </a:r>
            <a:endParaRPr lang="tr-TR" dirty="0"/>
          </a:p>
        </p:txBody>
      </p:sp>
      <p:sp>
        <p:nvSpPr>
          <p:cNvPr id="4" name="Footer Placeholder 3">
            <a:extLst>
              <a:ext uri="{FF2B5EF4-FFF2-40B4-BE49-F238E27FC236}">
                <a16:creationId xmlns:a16="http://schemas.microsoft.com/office/drawing/2014/main" id="{09C678F4-4511-655E-235A-D0CB3D6D4BA4}"/>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0C585C5D-5E15-CE7F-C030-895C7149A1B1}"/>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D12754EE-D83E-6EB6-2502-26F840EA929B}"/>
              </a:ext>
            </a:extLst>
          </p:cNvPr>
          <p:cNvSpPr>
            <a:spLocks noGrp="1"/>
          </p:cNvSpPr>
          <p:nvPr>
            <p:ph sz="quarter" idx="13"/>
          </p:nvPr>
        </p:nvSpPr>
        <p:spPr/>
        <p:txBody>
          <a:bodyPr/>
          <a:lstStyle/>
          <a:p>
            <a:r>
              <a:rPr lang="en-US" dirty="0"/>
              <a:t>Calibrated Voltage Waveform @1GHz</a:t>
            </a:r>
            <a:endParaRPr lang="tr-TR" dirty="0"/>
          </a:p>
        </p:txBody>
      </p:sp>
      <p:pic>
        <p:nvPicPr>
          <p:cNvPr id="7" name="Picture 6" descr="A graph of a graph&#10;&#10;AI-generated content may be incorrect.">
            <a:extLst>
              <a:ext uri="{FF2B5EF4-FFF2-40B4-BE49-F238E27FC236}">
                <a16:creationId xmlns:a16="http://schemas.microsoft.com/office/drawing/2014/main" id="{0EB42BD4-2C69-062A-5D7C-A05339765E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4799" y="1701445"/>
            <a:ext cx="11520001" cy="5040000"/>
          </a:xfrm>
          <a:prstGeom prst="rect">
            <a:avLst/>
          </a:prstGeom>
        </p:spPr>
      </p:pic>
    </p:spTree>
    <p:extLst>
      <p:ext uri="{BB962C8B-B14F-4D97-AF65-F5344CB8AC3E}">
        <p14:creationId xmlns:p14="http://schemas.microsoft.com/office/powerpoint/2010/main" val="29676303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D04BF0-A3DF-5556-36D5-6DA3E2CF755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3A80900-A24C-9A9E-DF77-29C62170D7BF}"/>
              </a:ext>
            </a:extLst>
          </p:cNvPr>
          <p:cNvSpPr>
            <a:spLocks noGrp="1"/>
          </p:cNvSpPr>
          <p:nvPr>
            <p:ph type="title"/>
          </p:nvPr>
        </p:nvSpPr>
        <p:spPr>
          <a:xfrm>
            <a:off x="445713" y="1517515"/>
            <a:ext cx="11300573" cy="2779921"/>
          </a:xfrm>
        </p:spPr>
        <p:txBody>
          <a:bodyPr/>
          <a:lstStyle/>
          <a:p>
            <a:pPr algn="ctr"/>
            <a:r>
              <a:rPr lang="en-US" sz="3600" dirty="0"/>
              <a:t>Approaching an ideal calibration:</a:t>
            </a:r>
            <a:br>
              <a:rPr lang="en-US" sz="3600" dirty="0"/>
            </a:br>
            <a:r>
              <a:rPr lang="en-US" sz="3600" dirty="0"/>
              <a:t>Solution @1GHz</a:t>
            </a:r>
          </a:p>
        </p:txBody>
      </p:sp>
    </p:spTree>
    <p:extLst>
      <p:ext uri="{BB962C8B-B14F-4D97-AF65-F5344CB8AC3E}">
        <p14:creationId xmlns:p14="http://schemas.microsoft.com/office/powerpoint/2010/main" val="13650982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2CC2EF-F23B-8722-7892-6210542A9D8E}"/>
            </a:ext>
          </a:extLst>
        </p:cNvPr>
        <p:cNvGrpSpPr/>
        <p:nvPr/>
      </p:nvGrpSpPr>
      <p:grpSpPr>
        <a:xfrm>
          <a:off x="0" y="0"/>
          <a:ext cx="0" cy="0"/>
          <a:chOff x="0" y="0"/>
          <a:chExt cx="0" cy="0"/>
        </a:xfrm>
      </p:grpSpPr>
      <p:pic>
        <p:nvPicPr>
          <p:cNvPr id="7" name="Picture 6" descr="A graph with lines and numbers&#10;&#10;AI-generated content may be incorrect.">
            <a:extLst>
              <a:ext uri="{FF2B5EF4-FFF2-40B4-BE49-F238E27FC236}">
                <a16:creationId xmlns:a16="http://schemas.microsoft.com/office/drawing/2014/main" id="{79698191-EE5E-75E3-7154-4424A66E41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6000" y="1629723"/>
            <a:ext cx="11520000" cy="5039557"/>
          </a:xfrm>
          <a:prstGeom prst="rect">
            <a:avLst/>
          </a:prstGeom>
        </p:spPr>
      </p:pic>
      <p:sp>
        <p:nvSpPr>
          <p:cNvPr id="3" name="Title 2">
            <a:extLst>
              <a:ext uri="{FF2B5EF4-FFF2-40B4-BE49-F238E27FC236}">
                <a16:creationId xmlns:a16="http://schemas.microsoft.com/office/drawing/2014/main" id="{6F4061E4-6C5C-2668-12A9-C58057206581}"/>
              </a:ext>
            </a:extLst>
          </p:cNvPr>
          <p:cNvSpPr>
            <a:spLocks noGrp="1"/>
          </p:cNvSpPr>
          <p:nvPr>
            <p:ph type="title"/>
          </p:nvPr>
        </p:nvSpPr>
        <p:spPr/>
        <p:txBody>
          <a:bodyPr/>
          <a:lstStyle/>
          <a:p>
            <a:r>
              <a:rPr lang="en-US" dirty="0"/>
              <a:t>Approaching an ideal calibration – Solution @1GHz</a:t>
            </a:r>
            <a:endParaRPr lang="tr-TR" dirty="0"/>
          </a:p>
        </p:txBody>
      </p:sp>
      <p:sp>
        <p:nvSpPr>
          <p:cNvPr id="4" name="Footer Placeholder 3">
            <a:extLst>
              <a:ext uri="{FF2B5EF4-FFF2-40B4-BE49-F238E27FC236}">
                <a16:creationId xmlns:a16="http://schemas.microsoft.com/office/drawing/2014/main" id="{007FCF4A-F31A-553B-9CD2-FCCDE49D4135}"/>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E7DC657E-931B-E9FD-548A-DCB839A34BD6}"/>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624EA7DA-29A3-AEB1-DE94-2CA5DF9CC485}"/>
              </a:ext>
            </a:extLst>
          </p:cNvPr>
          <p:cNvSpPr>
            <a:spLocks noGrp="1"/>
          </p:cNvSpPr>
          <p:nvPr>
            <p:ph sz="quarter" idx="13"/>
          </p:nvPr>
        </p:nvSpPr>
        <p:spPr/>
        <p:txBody>
          <a:bodyPr/>
          <a:lstStyle/>
          <a:p>
            <a:r>
              <a:rPr lang="en-US" dirty="0"/>
              <a:t>Input Voltage Waveform @1GHz </a:t>
            </a:r>
            <a:r>
              <a:rPr lang="en-US" i="1" dirty="0"/>
              <a:t>(#ofHarmonics = 64)</a:t>
            </a:r>
            <a:endParaRPr lang="tr-TR" i="1" dirty="0"/>
          </a:p>
        </p:txBody>
      </p:sp>
    </p:spTree>
    <p:extLst>
      <p:ext uri="{BB962C8B-B14F-4D97-AF65-F5344CB8AC3E}">
        <p14:creationId xmlns:p14="http://schemas.microsoft.com/office/powerpoint/2010/main" val="223419696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3C8680-1815-FE3E-EF63-9822E7128E6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B5BF146-C697-D588-A657-255C69EF0871}"/>
              </a:ext>
            </a:extLst>
          </p:cNvPr>
          <p:cNvSpPr>
            <a:spLocks noGrp="1"/>
          </p:cNvSpPr>
          <p:nvPr>
            <p:ph type="title"/>
          </p:nvPr>
        </p:nvSpPr>
        <p:spPr/>
        <p:txBody>
          <a:bodyPr/>
          <a:lstStyle/>
          <a:p>
            <a:r>
              <a:rPr lang="en-US" dirty="0"/>
              <a:t>Approaching an ideal calibration – Solution @1GHz</a:t>
            </a:r>
            <a:endParaRPr lang="tr-TR" dirty="0"/>
          </a:p>
        </p:txBody>
      </p:sp>
      <p:sp>
        <p:nvSpPr>
          <p:cNvPr id="4" name="Footer Placeholder 3">
            <a:extLst>
              <a:ext uri="{FF2B5EF4-FFF2-40B4-BE49-F238E27FC236}">
                <a16:creationId xmlns:a16="http://schemas.microsoft.com/office/drawing/2014/main" id="{A38D4892-F5DE-83A7-F1D7-126EAB03BB65}"/>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1605FB86-F188-B68C-5A96-43A72EB16982}"/>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CD579FEF-ACAB-6B47-DF34-2C57BED3DB47}"/>
              </a:ext>
            </a:extLst>
          </p:cNvPr>
          <p:cNvSpPr>
            <a:spLocks noGrp="1"/>
          </p:cNvSpPr>
          <p:nvPr>
            <p:ph sz="quarter" idx="13"/>
          </p:nvPr>
        </p:nvSpPr>
        <p:spPr/>
        <p:txBody>
          <a:bodyPr/>
          <a:lstStyle/>
          <a:p>
            <a:r>
              <a:rPr lang="en-US" dirty="0"/>
              <a:t>Calibrated Voltage Waveform @1GHz </a:t>
            </a:r>
            <a:r>
              <a:rPr lang="en-US" i="1" dirty="0"/>
              <a:t>(#ofHarmonics = 64)</a:t>
            </a:r>
            <a:endParaRPr lang="tr-TR" dirty="0"/>
          </a:p>
        </p:txBody>
      </p:sp>
      <p:pic>
        <p:nvPicPr>
          <p:cNvPr id="8" name="Picture 7" descr="A graph of a graph&#10;&#10;AI-generated content may be incorrect.">
            <a:extLst>
              <a:ext uri="{FF2B5EF4-FFF2-40B4-BE49-F238E27FC236}">
                <a16:creationId xmlns:a16="http://schemas.microsoft.com/office/drawing/2014/main" id="{7EBA618D-BB6A-4026-C897-75C6911D28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0591" y="1704919"/>
            <a:ext cx="11248417" cy="4855683"/>
          </a:xfrm>
          <a:prstGeom prst="rect">
            <a:avLst/>
          </a:prstGeom>
        </p:spPr>
      </p:pic>
    </p:spTree>
    <p:extLst>
      <p:ext uri="{BB962C8B-B14F-4D97-AF65-F5344CB8AC3E}">
        <p14:creationId xmlns:p14="http://schemas.microsoft.com/office/powerpoint/2010/main" val="6691350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5527D3-E6B1-39F7-5910-5009BFD906F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A0F3694-1532-6B66-EA5A-170D70A2802D}"/>
              </a:ext>
            </a:extLst>
          </p:cNvPr>
          <p:cNvSpPr>
            <a:spLocks noGrp="1"/>
          </p:cNvSpPr>
          <p:nvPr>
            <p:ph type="title"/>
          </p:nvPr>
        </p:nvSpPr>
        <p:spPr>
          <a:xfrm>
            <a:off x="445713" y="1517515"/>
            <a:ext cx="11300573" cy="2779921"/>
          </a:xfrm>
        </p:spPr>
        <p:txBody>
          <a:bodyPr/>
          <a:lstStyle/>
          <a:p>
            <a:pPr algn="ctr"/>
            <a:r>
              <a:rPr lang="en-US" sz="3600" dirty="0"/>
              <a:t>Approaching an ideal calibration:</a:t>
            </a:r>
            <a:br>
              <a:rPr lang="en-US" sz="3600" dirty="0"/>
            </a:br>
            <a:r>
              <a:rPr lang="en-US" sz="3600" dirty="0"/>
              <a:t>Problem @2GHz</a:t>
            </a:r>
          </a:p>
        </p:txBody>
      </p:sp>
    </p:spTree>
    <p:extLst>
      <p:ext uri="{BB962C8B-B14F-4D97-AF65-F5344CB8AC3E}">
        <p14:creationId xmlns:p14="http://schemas.microsoft.com/office/powerpoint/2010/main" val="30115339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3E4A76-3074-138A-C70B-AD05812F21A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60D16DB-7485-344F-99CA-1DD55C89D0A6}"/>
              </a:ext>
            </a:extLst>
          </p:cNvPr>
          <p:cNvSpPr>
            <a:spLocks noGrp="1"/>
          </p:cNvSpPr>
          <p:nvPr>
            <p:ph type="title"/>
          </p:nvPr>
        </p:nvSpPr>
        <p:spPr/>
        <p:txBody>
          <a:bodyPr/>
          <a:lstStyle/>
          <a:p>
            <a:r>
              <a:rPr lang="en-US" dirty="0"/>
              <a:t>Approaching an ideal calibration – Problem @2GHz</a:t>
            </a:r>
            <a:endParaRPr lang="tr-TR" dirty="0"/>
          </a:p>
        </p:txBody>
      </p:sp>
      <p:sp>
        <p:nvSpPr>
          <p:cNvPr id="4" name="Footer Placeholder 3">
            <a:extLst>
              <a:ext uri="{FF2B5EF4-FFF2-40B4-BE49-F238E27FC236}">
                <a16:creationId xmlns:a16="http://schemas.microsoft.com/office/drawing/2014/main" id="{E6F9CDB8-B551-F8E7-E594-EE2D1B439414}"/>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F02EFD14-0BBF-2957-F862-86DC58FCF55B}"/>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4AFA7858-19EA-D41C-1CCA-E2F797BB32B2}"/>
              </a:ext>
            </a:extLst>
          </p:cNvPr>
          <p:cNvSpPr>
            <a:spLocks noGrp="1"/>
          </p:cNvSpPr>
          <p:nvPr>
            <p:ph sz="quarter" idx="13"/>
          </p:nvPr>
        </p:nvSpPr>
        <p:spPr/>
        <p:txBody>
          <a:bodyPr/>
          <a:lstStyle/>
          <a:p>
            <a:r>
              <a:rPr lang="en-US" dirty="0"/>
              <a:t>Input Voltage Waveform @2GHz</a:t>
            </a:r>
            <a:endParaRPr lang="tr-TR" dirty="0"/>
          </a:p>
        </p:txBody>
      </p:sp>
      <p:pic>
        <p:nvPicPr>
          <p:cNvPr id="7" name="Picture 6" descr="A graph of a graph&#10;&#10;AI-generated content may be incorrect.">
            <a:extLst>
              <a:ext uri="{FF2B5EF4-FFF2-40B4-BE49-F238E27FC236}">
                <a16:creationId xmlns:a16="http://schemas.microsoft.com/office/drawing/2014/main" id="{D917563D-2C2B-86F3-9F9F-FB0E8C8B8A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4800" y="1746324"/>
            <a:ext cx="11520000" cy="4922956"/>
          </a:xfrm>
          <a:prstGeom prst="rect">
            <a:avLst/>
          </a:prstGeom>
        </p:spPr>
      </p:pic>
      <p:cxnSp>
        <p:nvCxnSpPr>
          <p:cNvPr id="10" name="Straight Arrow Connector 9">
            <a:extLst>
              <a:ext uri="{FF2B5EF4-FFF2-40B4-BE49-F238E27FC236}">
                <a16:creationId xmlns:a16="http://schemas.microsoft.com/office/drawing/2014/main" id="{85A5EFFA-F6AC-A5EB-882C-FE7724E27B82}"/>
              </a:ext>
            </a:extLst>
          </p:cNvPr>
          <p:cNvCxnSpPr>
            <a:cxnSpLocks/>
          </p:cNvCxnSpPr>
          <p:nvPr/>
        </p:nvCxnSpPr>
        <p:spPr>
          <a:xfrm>
            <a:off x="8966681" y="3908753"/>
            <a:ext cx="2122851" cy="59809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88606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C1060-EAC9-4BAF-DDBF-49F03AA9125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EBD8611-DB6F-B45E-47B6-36A49E68329D}"/>
              </a:ext>
            </a:extLst>
          </p:cNvPr>
          <p:cNvSpPr>
            <a:spLocks noGrp="1"/>
          </p:cNvSpPr>
          <p:nvPr>
            <p:ph type="title"/>
          </p:nvPr>
        </p:nvSpPr>
        <p:spPr>
          <a:xfrm>
            <a:off x="445713" y="1517515"/>
            <a:ext cx="11300573" cy="2779921"/>
          </a:xfrm>
        </p:spPr>
        <p:txBody>
          <a:bodyPr/>
          <a:lstStyle/>
          <a:p>
            <a:pPr algn="ctr"/>
            <a:br>
              <a:rPr lang="en-US" sz="3600" dirty="0"/>
            </a:br>
            <a:r>
              <a:rPr lang="en-US" sz="3600" dirty="0"/>
              <a:t>Plans for the next weeks</a:t>
            </a:r>
          </a:p>
        </p:txBody>
      </p:sp>
    </p:spTree>
    <p:extLst>
      <p:ext uri="{BB962C8B-B14F-4D97-AF65-F5344CB8AC3E}">
        <p14:creationId xmlns:p14="http://schemas.microsoft.com/office/powerpoint/2010/main" val="22764289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32DBE4-2E43-11D7-F7FB-6238AC9E88A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2E4A09C-98D8-7D44-42E8-77ACB3D89608}"/>
              </a:ext>
            </a:extLst>
          </p:cNvPr>
          <p:cNvSpPr>
            <a:spLocks noGrp="1"/>
          </p:cNvSpPr>
          <p:nvPr>
            <p:ph type="title"/>
          </p:nvPr>
        </p:nvSpPr>
        <p:spPr/>
        <p:txBody>
          <a:bodyPr/>
          <a:lstStyle/>
          <a:p>
            <a:r>
              <a:rPr lang="en-US" dirty="0"/>
              <a:t>Problem @ 2GHz – Solution</a:t>
            </a:r>
            <a:endParaRPr lang="tr-TR" dirty="0"/>
          </a:p>
        </p:txBody>
      </p:sp>
      <p:sp>
        <p:nvSpPr>
          <p:cNvPr id="4" name="Footer Placeholder 3">
            <a:extLst>
              <a:ext uri="{FF2B5EF4-FFF2-40B4-BE49-F238E27FC236}">
                <a16:creationId xmlns:a16="http://schemas.microsoft.com/office/drawing/2014/main" id="{5CE281F2-E480-55FB-B922-13A3FE055F14}"/>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20861638-3667-B958-6A67-7614B38A051E}"/>
              </a:ext>
            </a:extLst>
          </p:cNvPr>
          <p:cNvSpPr>
            <a:spLocks noGrp="1"/>
          </p:cNvSpPr>
          <p:nvPr>
            <p:ph type="sldNum" sz="quarter" idx="16"/>
          </p:nvPr>
        </p:nvSpPr>
        <p:spPr/>
        <p:txBody>
          <a:bodyPr/>
          <a:lstStyle/>
          <a:p>
            <a:r>
              <a:rPr lang="en-US"/>
              <a:t> </a:t>
            </a:r>
          </a:p>
        </p:txBody>
      </p:sp>
      <p:sp>
        <p:nvSpPr>
          <p:cNvPr id="7" name="Content Placeholder 6">
            <a:extLst>
              <a:ext uri="{FF2B5EF4-FFF2-40B4-BE49-F238E27FC236}">
                <a16:creationId xmlns:a16="http://schemas.microsoft.com/office/drawing/2014/main" id="{70309B96-D851-510A-E8D0-D39519ABCAD7}"/>
              </a:ext>
            </a:extLst>
          </p:cNvPr>
          <p:cNvSpPr>
            <a:spLocks noGrp="1"/>
          </p:cNvSpPr>
          <p:nvPr>
            <p:ph sz="quarter" idx="13"/>
          </p:nvPr>
        </p:nvSpPr>
        <p:spPr/>
        <p:txBody>
          <a:bodyPr/>
          <a:lstStyle/>
          <a:p>
            <a:r>
              <a:rPr lang="en-US" sz="8000" dirty="0"/>
              <a:t>ADD PLOT FOR HIGH NUMBER OF SIMULATION POINTS</a:t>
            </a:r>
            <a:endParaRPr lang="tr-TR" sz="8000" dirty="0"/>
          </a:p>
        </p:txBody>
      </p:sp>
    </p:spTree>
    <p:extLst>
      <p:ext uri="{BB962C8B-B14F-4D97-AF65-F5344CB8AC3E}">
        <p14:creationId xmlns:p14="http://schemas.microsoft.com/office/powerpoint/2010/main" val="170358214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F7869-6885-4764-BC2A-EEA50D47290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ADA1D37-2629-ED52-7026-F9A080B825C4}"/>
              </a:ext>
            </a:extLst>
          </p:cNvPr>
          <p:cNvSpPr>
            <a:spLocks noGrp="1"/>
          </p:cNvSpPr>
          <p:nvPr>
            <p:ph type="title"/>
          </p:nvPr>
        </p:nvSpPr>
        <p:spPr/>
        <p:txBody>
          <a:bodyPr/>
          <a:lstStyle/>
          <a:p>
            <a:pPr>
              <a:lnSpc>
                <a:spcPct val="250000"/>
              </a:lnSpc>
            </a:pPr>
            <a:r>
              <a:rPr lang="en-US" dirty="0"/>
              <a:t>Plans for the next weeks </a:t>
            </a:r>
          </a:p>
        </p:txBody>
      </p:sp>
      <p:sp>
        <p:nvSpPr>
          <p:cNvPr id="4" name="Footer Placeholder 3">
            <a:extLst>
              <a:ext uri="{FF2B5EF4-FFF2-40B4-BE49-F238E27FC236}">
                <a16:creationId xmlns:a16="http://schemas.microsoft.com/office/drawing/2014/main" id="{B05EA2D6-AA58-9CF6-4C00-B074DB58E102}"/>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72BC4D0F-4BE5-27FC-8DCB-2F3CBCC183FE}"/>
              </a:ext>
            </a:extLst>
          </p:cNvPr>
          <p:cNvSpPr>
            <a:spLocks noGrp="1"/>
          </p:cNvSpPr>
          <p:nvPr>
            <p:ph type="sldNum" sz="quarter" idx="16"/>
          </p:nvPr>
        </p:nvSpPr>
        <p:spPr/>
        <p:txBody>
          <a:bodyPr/>
          <a:lstStyle/>
          <a:p>
            <a:r>
              <a:rPr lang="en-US"/>
              <a:t> </a:t>
            </a:r>
          </a:p>
        </p:txBody>
      </p:sp>
      <p:sp>
        <p:nvSpPr>
          <p:cNvPr id="10" name="Content Placeholder 9">
            <a:extLst>
              <a:ext uri="{FF2B5EF4-FFF2-40B4-BE49-F238E27FC236}">
                <a16:creationId xmlns:a16="http://schemas.microsoft.com/office/drawing/2014/main" id="{4216B05E-B5E4-FF76-7F06-40FA03298148}"/>
              </a:ext>
            </a:extLst>
          </p:cNvPr>
          <p:cNvSpPr>
            <a:spLocks noGrp="1"/>
          </p:cNvSpPr>
          <p:nvPr>
            <p:ph sz="quarter" idx="13"/>
          </p:nvPr>
        </p:nvSpPr>
        <p:spPr/>
        <p:txBody>
          <a:bodyPr/>
          <a:lstStyle/>
          <a:p>
            <a:r>
              <a:rPr lang="en-US" dirty="0"/>
              <a:t>Try to fix the problem of ideal calibration @2GHz.</a:t>
            </a:r>
          </a:p>
          <a:p>
            <a:r>
              <a:rPr lang="en-US" dirty="0"/>
              <a:t>Determine how many levels of PRBS signal is required to obtain similar coefficients.</a:t>
            </a:r>
          </a:p>
          <a:p>
            <a:r>
              <a:rPr lang="en-US" dirty="0"/>
              <a:t>My final exam is on 12</a:t>
            </a:r>
            <a:r>
              <a:rPr lang="en-US" baseline="30000" dirty="0"/>
              <a:t>th</a:t>
            </a:r>
            <a:r>
              <a:rPr lang="en-US" dirty="0"/>
              <a:t> September.</a:t>
            </a:r>
          </a:p>
        </p:txBody>
      </p:sp>
    </p:spTree>
    <p:extLst>
      <p:ext uri="{BB962C8B-B14F-4D97-AF65-F5344CB8AC3E}">
        <p14:creationId xmlns:p14="http://schemas.microsoft.com/office/powerpoint/2010/main" val="202418770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1358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E52FF4E-FD77-E143-5463-57777A2F1341}"/>
              </a:ext>
            </a:extLst>
          </p:cNvPr>
          <p:cNvSpPr>
            <a:spLocks noGrp="1"/>
          </p:cNvSpPr>
          <p:nvPr>
            <p:ph sz="quarter" idx="13"/>
          </p:nvPr>
        </p:nvSpPr>
        <p:spPr/>
        <p:txBody>
          <a:bodyPr/>
          <a:lstStyle/>
          <a:p>
            <a:endParaRPr lang="tr-TR"/>
          </a:p>
        </p:txBody>
      </p:sp>
      <p:sp>
        <p:nvSpPr>
          <p:cNvPr id="3" name="Title 2">
            <a:extLst>
              <a:ext uri="{FF2B5EF4-FFF2-40B4-BE49-F238E27FC236}">
                <a16:creationId xmlns:a16="http://schemas.microsoft.com/office/drawing/2014/main" id="{A299FEF9-C72C-E303-9598-C894FE33D58C}"/>
              </a:ext>
            </a:extLst>
          </p:cNvPr>
          <p:cNvSpPr>
            <a:spLocks noGrp="1"/>
          </p:cNvSpPr>
          <p:nvPr>
            <p:ph type="title"/>
          </p:nvPr>
        </p:nvSpPr>
        <p:spPr/>
        <p:txBody>
          <a:bodyPr/>
          <a:lstStyle/>
          <a:p>
            <a:endParaRPr lang="tr-TR"/>
          </a:p>
        </p:txBody>
      </p:sp>
      <p:sp>
        <p:nvSpPr>
          <p:cNvPr id="4" name="Footer Placeholder 3">
            <a:extLst>
              <a:ext uri="{FF2B5EF4-FFF2-40B4-BE49-F238E27FC236}">
                <a16:creationId xmlns:a16="http://schemas.microsoft.com/office/drawing/2014/main" id="{2C53E8D1-2415-E4E5-8634-A38157E8CA6E}"/>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6CBFB727-34A4-CB44-FD41-B1704D01CAD3}"/>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37175645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B77030-BDE2-52CC-37BA-AB4AEC4AF08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8387A29-C189-5F3D-D242-EC07854C5027}"/>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Quantization :</a:t>
            </a:r>
            <a:br>
              <a:rPr lang="en-US" sz="3600" dirty="0"/>
            </a:br>
            <a:r>
              <a:rPr lang="en-US" sz="3600" dirty="0"/>
              <a:t>Set up</a:t>
            </a:r>
          </a:p>
        </p:txBody>
      </p:sp>
    </p:spTree>
    <p:extLst>
      <p:ext uri="{BB962C8B-B14F-4D97-AF65-F5344CB8AC3E}">
        <p14:creationId xmlns:p14="http://schemas.microsoft.com/office/powerpoint/2010/main" val="568371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82CDF-5048-B94C-1773-18AA75247854}"/>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00CFD52-61AB-E840-4284-AEC40B962533}"/>
              </a:ext>
            </a:extLst>
          </p:cNvPr>
          <p:cNvSpPr>
            <a:spLocks noGrp="1"/>
          </p:cNvSpPr>
          <p:nvPr>
            <p:ph sz="quarter" idx="13"/>
          </p:nvPr>
        </p:nvSpPr>
        <p:spPr/>
        <p:txBody>
          <a:bodyPr/>
          <a:lstStyle/>
          <a:p>
            <a:r>
              <a:rPr lang="en-US" i="1" dirty="0"/>
              <a:t>Purpose</a:t>
            </a:r>
            <a:r>
              <a:rPr lang="en-US" dirty="0"/>
              <a:t>: Implementing a LUT requires converting analog voltage into a digital voltage, which introduces quantization noise into the signal. Therefore, it is required to determine the number of bits for quantization.  </a:t>
            </a:r>
          </a:p>
          <a:p>
            <a:endParaRPr lang="en-US" dirty="0"/>
          </a:p>
          <a:p>
            <a:r>
              <a:rPr lang="en-US" i="1" dirty="0"/>
              <a:t>Step 1</a:t>
            </a:r>
            <a:r>
              <a:rPr lang="en-US" dirty="0"/>
              <a:t>: Take the signal of input and output waveforms @ 30 different frequencies.</a:t>
            </a:r>
          </a:p>
          <a:p>
            <a:r>
              <a:rPr lang="en-US" i="1" dirty="0"/>
              <a:t>Step 2</a:t>
            </a:r>
            <a:r>
              <a:rPr lang="en-US" dirty="0"/>
              <a:t>: Add a quantized signal based on 10-bits.</a:t>
            </a:r>
          </a:p>
          <a:p>
            <a:r>
              <a:rPr lang="en-US" i="1" dirty="0"/>
              <a:t>Step 3: </a:t>
            </a:r>
            <a:r>
              <a:rPr lang="en-US" dirty="0"/>
              <a:t>Calculate and store THD values for quantized and non-quantized signals.</a:t>
            </a:r>
          </a:p>
          <a:p>
            <a:r>
              <a:rPr lang="en-US" i="1" dirty="0"/>
              <a:t>Step 4: </a:t>
            </a:r>
            <a:r>
              <a:rPr lang="en-US" dirty="0"/>
              <a:t>Go to step 2 do it for (n=10,12,14,16).</a:t>
            </a:r>
            <a:endParaRPr lang="en-US" i="1" dirty="0"/>
          </a:p>
          <a:p>
            <a:r>
              <a:rPr lang="en-US" i="1" dirty="0"/>
              <a:t>Step 5: </a:t>
            </a:r>
            <a:r>
              <a:rPr lang="en-US" dirty="0"/>
              <a:t>Plot and compare all results.</a:t>
            </a:r>
          </a:p>
        </p:txBody>
      </p:sp>
      <p:sp>
        <p:nvSpPr>
          <p:cNvPr id="3" name="Title 2">
            <a:extLst>
              <a:ext uri="{FF2B5EF4-FFF2-40B4-BE49-F238E27FC236}">
                <a16:creationId xmlns:a16="http://schemas.microsoft.com/office/drawing/2014/main" id="{EDC5F6EC-F1CD-5C28-3B2D-B6CC6CB1347A}"/>
              </a:ext>
            </a:extLst>
          </p:cNvPr>
          <p:cNvSpPr>
            <a:spLocks noGrp="1"/>
          </p:cNvSpPr>
          <p:nvPr>
            <p:ph type="title"/>
          </p:nvPr>
        </p:nvSpPr>
        <p:spPr/>
        <p:txBody>
          <a:bodyPr/>
          <a:lstStyle/>
          <a:p>
            <a:br>
              <a:rPr lang="en-US" dirty="0"/>
            </a:br>
            <a:r>
              <a:rPr lang="en-US" dirty="0"/>
              <a:t>Quantization – Set Up</a:t>
            </a:r>
            <a:endParaRPr lang="tr-TR" dirty="0"/>
          </a:p>
        </p:txBody>
      </p:sp>
      <p:sp>
        <p:nvSpPr>
          <p:cNvPr id="4" name="Footer Placeholder 3">
            <a:extLst>
              <a:ext uri="{FF2B5EF4-FFF2-40B4-BE49-F238E27FC236}">
                <a16:creationId xmlns:a16="http://schemas.microsoft.com/office/drawing/2014/main" id="{3198C430-85F6-AEBA-EF92-7D0526887B69}"/>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629D420B-0DCB-1502-4D95-57B8206E15F9}"/>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21667968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NCLMASTER" val="0"/>
  <p:tag name="SLIDESPERROW" val="4"/>
  <p:tag name="THUMBWIDTH" val="220"/>
  <p:tag name="INFINEON_CATEGORY" val="{&quot;CategoryList&quot;:[],&quot;CategoryDictionary&quot;:{}}"/>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wQASwwAAAAAAAAAAAAAIAD///////////////8AAAD///////////////8DAAAAAgD///////////////////////////////////////////////////////////////////////////////////////////////////////////////////////////////////////////////////////////////////////////////////////////////////////////////////////////////////////////////////////////////////////////////////////////////////////////////////////////////////////////////////////////////////////////////////////////////////////////////////////////////////////////////////////////////////////////////////////////////////////////////8BACAA////////////////AAAO////////AwAAAAMA////////////////////////////////////////////////////////////////////////////////////////////////////////////////////////////////////////////////////////////////////////////////////////////////////////////////////////////////////////////////////////////////////////////////////////////////////////////////////////////////////////////////////////////////////////////////////////////////////////////////////////////////////////////////////////////////////////////////////////////////////////////////////////AgABAP///////wQAAAACABAAC10GBAEGmsRCrWeMKWDzcgcFAAAAAAADAAAAAAADAAAAAwADAAEA////////BAAAAAMAEAALVNGgrCHzak+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ALAAAAAAAAAAAAACAB////////////////AAAA////////////////BAAAAAMA////////BAAAAAMA////////BAAAAAMA////////BAAAAAMA////////BAAAAAMA////////BAAAAAMA////////////////////////////////////////////////////////////////////////////////////////////////////////////////////////////////////////////////////////////////////////////////////////////////////////////////////////////////////////////////////////////////////////////////////////////////////////////////////////////////////////////////////////////////////////////////////////////////////////////////////////////////AQAgAf///////////////wAADv///////wQAAAACAP///////////////////////////////////////////////////////////////////////////////////////////////////////////////////////////////////////////////////////////////////////////////////////////////////////////////////////////////////////////////////////////////////////////////////////////////////////////////////////////////////////////////////////////////////////////////////////////////////////////////////////////////////////////////////////////////////////////////////////////////////////////////////////wIAAQEDAAAAAgD///////8aAAZMaW5rZWRTaGFwZXNEYXRhUHJvcGVydHlfMAUAAAAAAAQAAAADAAQAAAABAAMABgEDAAAAAwD///////8lAAZMaW5rZWRTaGFwZVByZXNlbnRhdGlvblNldHRpbmdzRGF0YV8wBQAAAAEABAAAAAAABAAAAAIABAAAAAAA////////BAAAAAAA////////BAAAAAA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F0GBAEGmsRCrWeMKWDzcgcDRGF0YQAbAAAABExpbmtlZFNoYXBlRGF0YQAFAAAAAAACTmFtZQAZAAAATGlua2VkU2hhcGVzRGF0YVByb3BlcnR5ABBWZXJzaW9uAAAAAAAJTGFzdFdyaXRlAEHvOgOCAQAAAAEA/////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1.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Two_Columns_RowMIOPlaceholderMapping.12MIOPlaceholderMapping-Infineon 16:9MIOPlaceholderMapping.Row | 2 columns | rowMIOPlaceholderMapping.11"/>
</p:tagLst>
</file>

<file path=ppt/tags/tag1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hree_ColumnsMIOPlaceholderMapping.13MIOPlaceholderMapping-Infineon 16:9MIOPlaceholderMapping.3 columnsMIOPlaceholderMapping.12"/>
</p:tagLst>
</file>

<file path=ppt/tags/tag1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hree_ColumnsMIOPlaceholderMapping.14MIOPlaceholderMapping-Infineon 16:9MIOPlaceholderMapping.Row | 3 columnsMIOPlaceholderMapping.13"/>
</p:tagLst>
</file>

<file path=ppt/tags/tag1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_1MIOPlaceholderMapping.2MIOPlaceholderMapping-Infineon 16:9MIOPlaceholderMapping.Presentation title 1MIOPlaceholderMapping.1MIOPlaceholderMapping;Infineon 16:9MIOPlaceholderMapping.IFX_PresentationTitle_2MIOPlaceholderMapping.3MIOPlaceholderMapping-Infineon 16:9MIOPlaceholderMapping.Presentation title 1MIOPlaceholderMapping.1MIOPlaceholderMapping;Infineon 16:9MIOPlaceholderMapping.IFX_PresentationTitle_3MIOPlaceholderMapping.4MIOPlaceholderMapping-Infineon 16:9MIOPlaceholderMapping.Presentation title 1MIOPlaceholderMapping.1MIOPlaceholderMapping;Infineon 16:9MIOPlaceholderMapping.IFX_PresentationTitle_1MIOPlaceholderMapping.2MIOPlaceholderMapping.Picture Placeholder 20MIOPlaceholderMapping.18MIOPlaceholderMapping-Infineon 16:9MIOPlaceholderMapping.Presentation title 1MIOPlaceholderMapping.1MIOPlaceholderMapping.Crystal Picture PlaceholderMIOPlaceholderMapping.15MIOPlaceholderMapping;Infineon 16:9MIOPlaceholderMapping.IFX_PresentationTitle_2MIOPlaceholderMapping.3MIOPlaceholderMapping.Picture Placeholder 20MIOPlaceholderMapping.14MIOPlaceholderMapping-Infineon 16:9MIOPlaceholderMapping.Presentation title 1MIOPlaceholderMapping.1MIOPlaceholderMapping.Crystal Picture PlaceholderMIOPlaceholderMapping.15"/>
</p:tagLst>
</file>

<file path=ppt/tags/tag1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0.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our_ColumnsMIOPlaceholderMapping.15MIOPlaceholderMapping-Infineon 16:9MIOPlaceholderMapping.4 columnsMIOPlaceholderMapping.14"/>
</p:tagLst>
</file>

<file path=ppt/tags/tag1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Four_ColumnsMIOPlaceholderMapping.16MIOPlaceholderMapping-Infineon 16:9MIOPlaceholderMapping.Row | 4 columnsMIOPlaceholderMapping.15"/>
</p:tagLst>
</file>

<file path=ppt/tags/tag1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5.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EmptyMIOPlaceholderMapping.17MIOPlaceholderMapping-Infineon 16:9MIOPlaceholderMapping.EmptyMIOPlaceholderMapping.16"/>
</p:tagLst>
</file>

<file path=ppt/tags/tag1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2.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ullpicMIOPlaceholderMapping.18MIOPlaceholderMapping-Infineon 16:9MIOPlaceholderMapping.FullpicMIOPlaceholderMapping.17"/>
</p:tagLst>
</file>

<file path=ppt/tags/tag18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inal_ClaimMIOPlaceholderMapping.19MIOPlaceholderMapping-Infineon 16:9MIOPlaceholderMapping.FinalMIOPlaceholderMapping.18"/>
</p:tagLst>
</file>

<file path=ppt/tags/tag1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MIOPlaceholderMapping.1MIOPlaceholderMapping-Infineon 16:9MIOPlaceholderMapping.Presentation title 3MIOPlaceholderMapping.3"/>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OnlyMIOPlaceholderMapping.5MIOPlaceholderMapping-Infineon 16:9MIOPlaceholderMapping.Title OnlyMIOPlaceholderMapping.4"/>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False"/>
  <p:tag name="MIO_SHOW_PAGENUMBER" val="False"/>
  <p:tag name="MIO_AVOID_BLANK_LAYOUT" val="False"/>
  <p:tag name="MIO_CD_LAYOUT_VALID_AREA" val="False"/>
  <p:tag name="MIO_EMBED_FONT" val="False"/>
  <p:tag name="MIO_MATCH_COLOR_SCHEME" val="True"/>
  <p:tag name="MIO_NUMBER_OF_VALID_LAYOUTS" val="18"/>
  <p:tag name="MIO_HDS" val="True"/>
  <p:tag name="MIO_SKIPVERSION" val="01.01.0001 00:00:00"/>
  <p:tag name="MIO_EKGUID" val="f8120ca7-cceb-428f-a7d0-f20ce9397e1b"/>
  <p:tag name="MIO_UPDATE" val="True"/>
  <p:tag name="MIO_VERSION" val="13.05.2023 07:12:22"/>
  <p:tag name="MIO_DBID" val="FDE84254-54DB-49E3-9A0E-CDE72035D530"/>
  <p:tag name="MIO_LASTDOWNLOADED" val="26.07.2023 12:28:29.220"/>
  <p:tag name="MIO_OBJECTNAME" val="Infineon LCD 16:9"/>
  <p:tag name="MIO_CDID" val="e2fc2f9e-d5cf-4311-b3a1-0559b8fd1ab8"/>
</p:tagLst>
</file>

<file path=ppt/tags/tag5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1.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ContentMIOPlaceholderMapping.6MIOPlaceholderMapping-Infineon 16:9MIOPlaceholderMapping.Title | contentMIOPlaceholderMapping.5"/>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wo_ContentMIOPlaceholderMapping.8MIOPlaceholderMapping-Infineon 16:9MIOPlaceholderMapping.2 contentsMIOPlaceholderMapping.6"/>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2.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SectionMIOPlaceholderMapping.9MIOPlaceholderMapping-Infineon 16:9MIOPlaceholderMapping.Section 1MIOPlaceholderMapping.7"/>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Four_ContentMIOPlaceholderMapping.10MIOPlaceholderMapping-Infineon 16:9MIOPlaceholderMapping.4 contentsMIOPlaceholderMapping.9"/>
</p:tagLst>
</file>

<file path=ppt/tags/tag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8.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wo_ColumnsMIOPlaceholderMapping.11MIOPlaceholderMapping-Infineon 16:9MIOPlaceholderMapping.Row | 2 columnsMIOPlaceholderMapping.10"/>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Infineon 16:9">
  <a:themeElements>
    <a:clrScheme name="ARPLab">
      <a:dk1>
        <a:srgbClr val="1D1D1D"/>
      </a:dk1>
      <a:lt1>
        <a:srgbClr val="FFFFFF"/>
      </a:lt1>
      <a:dk2>
        <a:srgbClr val="7290A5"/>
      </a:dk2>
      <a:lt2>
        <a:srgbClr val="8D8786"/>
      </a:lt2>
      <a:accent1>
        <a:srgbClr val="7290A5"/>
      </a:accent1>
      <a:accent2>
        <a:srgbClr val="575352"/>
      </a:accent2>
      <a:accent3>
        <a:srgbClr val="F97414"/>
      </a:accent3>
      <a:accent4>
        <a:srgbClr val="9BBA43"/>
      </a:accent4>
      <a:accent5>
        <a:srgbClr val="FCD442"/>
      </a:accent5>
      <a:accent6>
        <a:srgbClr val="9C216E"/>
      </a:accent6>
      <a:hlink>
        <a:srgbClr val="7290A5"/>
      </a:hlink>
      <a:folHlink>
        <a:srgbClr val="2040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spPr>
      <a:bodyPr wrap="square" lIns="72000" tIns="72000" rIns="72000" bIns="72000" rtlCol="0" anchor="ctr"/>
      <a:lstStyle>
        <a:defPPr algn="ctr" defTabSz="576000" eaLnBrk="0" hangingPunct="0">
          <a:lnSpc>
            <a:spcPct val="120000"/>
          </a:lnSpc>
          <a:defRPr sz="1600" baseline="0" dirty="0">
            <a:solidFill>
              <a:schemeClr val="bg1"/>
            </a:solidFill>
            <a:latin typeface="+mn-lt"/>
            <a:ea typeface="+mn-ea"/>
            <a:cs typeface="+mn-cs"/>
          </a:defRPr>
        </a:defPPr>
      </a:lstStyle>
    </a:spDef>
    <a:lnDef>
      <a:spPr>
        <a:ln w="9525">
          <a:solidFill>
            <a:schemeClr val="bg2"/>
          </a:solidFill>
          <a:tailEnd type="none"/>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effectLst/>
      </a:spPr>
      <a:bodyPr wrap="square" lIns="0" tIns="0" rIns="0" bIns="0" rtlCol="0" anchor="t" anchorCtr="0">
        <a:spAutoFit/>
      </a:bodyPr>
      <a:lstStyle>
        <a:defPPr marL="252000" marR="0" indent="-252000" algn="l" defTabSz="576000" eaLnBrk="0" fontAlgn="auto" latinLnBrk="0" hangingPunct="0">
          <a:lnSpc>
            <a:spcPct val="120000"/>
          </a:lnSpc>
          <a:spcBef>
            <a:spcPts val="0"/>
          </a:spcBef>
          <a:spcAft>
            <a:spcPts val="0"/>
          </a:spcAft>
          <a:buClr>
            <a:schemeClr val="tx2"/>
          </a:buClr>
          <a:buSzTx/>
          <a:buFont typeface="Arial" panose="020B0604020202020204" pitchFamily="34" charset="0"/>
          <a:buChar char="‒"/>
          <a:tabLst/>
          <a:defRPr sz="1800" kern="0" baseline="0" dirty="0">
            <a:latin typeface="+mn-lt"/>
            <a:ea typeface="+mn-ea"/>
            <a:cs typeface="+mn-cs"/>
          </a:defRPr>
        </a:defPPr>
      </a:lstStyle>
    </a:txDef>
  </a:objectDefaults>
  <a:extraClrSchemeLst/>
  <a:custClrLst>
    <a:custClr name="Ocean 100">
      <a:srgbClr val="0A8276"/>
    </a:custClr>
    <a:custClr name="Ocean 80">
      <a:srgbClr val="3B9B91"/>
    </a:custClr>
    <a:custClr name="Ocean 60">
      <a:srgbClr val="6CB4AD"/>
    </a:custClr>
    <a:custClr name="Ocean 40">
      <a:srgbClr val="B8DEDA"/>
    </a:custClr>
    <a:custClr name="White">
      <a:srgbClr val="FFFFFF"/>
    </a:custClr>
    <a:custClr name="White">
      <a:srgbClr val="FFFFFF"/>
    </a:custClr>
    <a:custClr name="White ">
      <a:srgbClr val="FFFFFF"/>
    </a:custClr>
    <a:custClr name="White ">
      <a:srgbClr val="FFFFFF"/>
    </a:custClr>
    <a:custClr name="White ">
      <a:srgbClr val="FFFFFF"/>
    </a:custClr>
    <a:custClr name="White ">
      <a:srgbClr val="FFFFFF"/>
    </a:custClr>
    <a:custClr name="Lawn Main">
      <a:srgbClr val="9BBA43"/>
    </a:custClr>
    <a:custClr name="Berry Main">
      <a:srgbClr val="9C216E"/>
    </a:custClr>
    <a:custClr name="Engineering Main">
      <a:srgbClr val="575352"/>
    </a:custClr>
    <a:custClr name="Sun Main">
      <a:srgbClr val="F97414"/>
    </a:custClr>
    <a:custClr name="Sand Main">
      <a:srgbClr val="FCD442"/>
    </a:custClr>
    <a:custClr name="White">
      <a:srgbClr val="FFFFFF"/>
    </a:custClr>
    <a:custClr name="White ">
      <a:srgbClr val="FFFFFF"/>
    </a:custClr>
    <a:custClr name="White ">
      <a:srgbClr val="FFFFFF"/>
    </a:custClr>
    <a:custClr name="White ">
      <a:srgbClr val="FFFFFF"/>
    </a:custClr>
    <a:custClr name="White ">
      <a:srgbClr val="FFFFFF"/>
    </a:custClr>
    <a:custClr name="Lawn Light">
      <a:srgbClr val="B9D257"/>
    </a:custClr>
    <a:custClr name="Berry Light">
      <a:srgbClr val="BE3283"/>
    </a:custClr>
    <a:custClr name="Engineering Light">
      <a:srgbClr val="8D8786"/>
    </a:custClr>
    <a:custClr name="Sun Light">
      <a:srgbClr val="FF9737"/>
    </a:custClr>
    <a:custClr name="Sand Light">
      <a:srgbClr val="FBE273"/>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Grey 300 ">
      <a:srgbClr val="DCD5D7"/>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 id="{1E115DF3-41F0-4647-B0A5-8A317E6D094E}" vid="{137F0F39-D844-4AA9-B871-823A03F108D0}"/>
    </a:ext>
  </a:extLst>
</a:theme>
</file>

<file path=ppt/theme/theme2.xml><?xml version="1.0" encoding="utf-8"?>
<a:theme xmlns:a="http://schemas.openxmlformats.org/drawingml/2006/main" name="Larissa-Design">
  <a:themeElements>
    <a:clrScheme name="Infineon">
      <a:dk1>
        <a:srgbClr val="000000"/>
      </a:dk1>
      <a:lt1>
        <a:srgbClr val="FFFFFF"/>
      </a:lt1>
      <a:dk2>
        <a:srgbClr val="FFE054"/>
      </a:dk2>
      <a:lt2>
        <a:srgbClr val="E9E6E6"/>
      </a:lt2>
      <a:accent1>
        <a:srgbClr val="E30034"/>
      </a:accent1>
      <a:accent2>
        <a:srgbClr val="928285"/>
      </a:accent2>
      <a:accent3>
        <a:srgbClr val="84B6A7"/>
      </a:accent3>
      <a:accent4>
        <a:srgbClr val="AEC067"/>
      </a:accent4>
      <a:accent5>
        <a:srgbClr val="EE813C"/>
      </a:accent5>
      <a:accent6>
        <a:srgbClr val="AB377A"/>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Infineon_ColorTheme_2012">
      <a:dk1>
        <a:srgbClr val="00214A"/>
      </a:dk1>
      <a:lt1>
        <a:srgbClr val="FFFFFF"/>
      </a:lt1>
      <a:dk2>
        <a:srgbClr val="00214A"/>
      </a:dk2>
      <a:lt2>
        <a:srgbClr val="C8D8E6"/>
      </a:lt2>
      <a:accent1>
        <a:srgbClr val="B70D28"/>
      </a:accent1>
      <a:accent2>
        <a:srgbClr val="E3EBF2"/>
      </a:accent2>
      <a:accent3>
        <a:srgbClr val="005DA9"/>
      </a:accent3>
      <a:accent4>
        <a:srgbClr val="969696"/>
      </a:accent4>
      <a:accent5>
        <a:srgbClr val="FDC400"/>
      </a:accent5>
      <a:accent6>
        <a:srgbClr val="009651"/>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customXsn xmlns="http://schemas.microsoft.com/office/2006/metadata/customXsn">
  <xsnLocation/>
  <cached>True</cached>
  <openByDefault>False</openByDefault>
  <xsnScope/>
</customXsn>
</file>

<file path=customXml/item2.xml><?xml version="1.0" encoding="utf-8"?>
<ct:contentTypeSchema xmlns:ct="http://schemas.microsoft.com/office/2006/metadata/contentType" xmlns:ma="http://schemas.microsoft.com/office/2006/metadata/properties/metaAttributes" ct:_="" ma:_="" ma:contentTypeName="Document" ma:contentTypeID="0x010100A655AAE9148B404486CBFDD74AD2AA0B" ma:contentTypeVersion="2" ma:contentTypeDescription="Create a new document." ma:contentTypeScope="" ma:versionID="a24cc1775e4f53b56bd6bf310015a115">
  <xsd:schema xmlns:xsd="http://www.w3.org/2001/XMLSchema" xmlns:xs="http://www.w3.org/2001/XMLSchema" xmlns:p="http://schemas.microsoft.com/office/2006/metadata/properties" xmlns:ns2="a709603d-609a-478b-a91d-3c5e984c0e79" xmlns:ns3="6ef45842-284e-44e4-b2db-1749e7948b44" targetNamespace="http://schemas.microsoft.com/office/2006/metadata/properties" ma:root="true" ma:fieldsID="f8923fe8aa0ace7ab58ef4ccc8b43a85" ns2:_="" ns3:_="">
    <xsd:import namespace="a709603d-609a-478b-a91d-3c5e984c0e79"/>
    <xsd:import namespace="6ef45842-284e-44e4-b2db-1749e7948b44"/>
    <xsd:element name="properties">
      <xsd:complexType>
        <xsd:sequence>
          <xsd:element name="documentManagement">
            <xsd:complexType>
              <xsd:all>
                <xsd:element ref="ns2:Ver"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09603d-609a-478b-a91d-3c5e984c0e79" elementFormDefault="qualified">
    <xsd:import namespace="http://schemas.microsoft.com/office/2006/documentManagement/types"/>
    <xsd:import namespace="http://schemas.microsoft.com/office/infopath/2007/PartnerControls"/>
    <xsd:element name="Ver" ma:index="8" nillable="true" ma:displayName="Ver" ma:default="0" ma:internalName="Ver"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6ef45842-284e-44e4-b2db-1749e7948b44"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Ver xmlns="a709603d-609a-478b-a91d-3c5e984c0e79">0</Ver>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C144A13-A380-40B3-9980-61BD11F58D02}">
  <ds:schemaRefs>
    <ds:schemaRef ds:uri="http://schemas.microsoft.com/office/2006/metadata/customXsn"/>
  </ds:schemaRefs>
</ds:datastoreItem>
</file>

<file path=customXml/itemProps2.xml><?xml version="1.0" encoding="utf-8"?>
<ds:datastoreItem xmlns:ds="http://schemas.openxmlformats.org/officeDocument/2006/customXml" ds:itemID="{AF2014AB-78C2-4F59-9D6E-9572E72F7781}">
  <ds:schemaRefs>
    <ds:schemaRef ds:uri="6ef45842-284e-44e4-b2db-1749e7948b44"/>
    <ds:schemaRef ds:uri="a709603d-609a-478b-a91d-3c5e984c0e7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299A1D5-F553-4264-9022-E0136C61CE27}">
  <ds:schemaRefs>
    <ds:schemaRef ds:uri="http://schemas.microsoft.com/office/2006/documentManagement/types"/>
    <ds:schemaRef ds:uri="a709603d-609a-478b-a91d-3c5e984c0e79"/>
    <ds:schemaRef ds:uri="http://purl.org/dc/dcmitype/"/>
    <ds:schemaRef ds:uri="6ef45842-284e-44e4-b2db-1749e7948b44"/>
    <ds:schemaRef ds:uri="http://purl.org/dc/elements/1.1/"/>
    <ds:schemaRef ds:uri="http://schemas.microsoft.com/office/infopath/2007/PartnerControls"/>
    <ds:schemaRef ds:uri="http://purl.org/dc/terms/"/>
    <ds:schemaRef ds:uri="http://schemas.openxmlformats.org/package/2006/metadata/core-properties"/>
    <ds:schemaRef ds:uri="http://schemas.microsoft.com/office/2006/metadata/properties"/>
    <ds:schemaRef ds:uri="http://www.w3.org/XML/1998/namespace"/>
  </ds:schemaRefs>
</ds:datastoreItem>
</file>

<file path=customXml/itemProps4.xml><?xml version="1.0" encoding="utf-8"?>
<ds:datastoreItem xmlns:ds="http://schemas.openxmlformats.org/officeDocument/2006/customXml" ds:itemID="{63C6748B-B74E-4BE1-834C-AEBB9BCA18F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89</TotalTime>
  <Words>1723</Words>
  <Application>Microsoft Office PowerPoint</Application>
  <PresentationFormat>Widescreen</PresentationFormat>
  <Paragraphs>254</Paragraphs>
  <Slides>61</Slides>
  <Notes>22</Notes>
  <HiddenSlides>0</HiddenSlides>
  <MMClips>0</MMClips>
  <ScaleCrop>false</ScaleCrop>
  <HeadingPairs>
    <vt:vector size="6" baseType="variant">
      <vt:variant>
        <vt:lpstr>Fonts Used</vt:lpstr>
      </vt:variant>
      <vt:variant>
        <vt:i4>1</vt:i4>
      </vt:variant>
      <vt:variant>
        <vt:lpstr>Theme</vt:lpstr>
      </vt:variant>
      <vt:variant>
        <vt:i4>1</vt:i4>
      </vt:variant>
      <vt:variant>
        <vt:lpstr>Slide Titles</vt:lpstr>
      </vt:variant>
      <vt:variant>
        <vt:i4>61</vt:i4>
      </vt:variant>
    </vt:vector>
  </HeadingPairs>
  <TitlesOfParts>
    <vt:vector size="63" baseType="lpstr">
      <vt:lpstr>Arial</vt:lpstr>
      <vt:lpstr>Infineon 16:9</vt:lpstr>
      <vt:lpstr>Biweekly Update Presentation 06</vt:lpstr>
      <vt:lpstr>Outline</vt:lpstr>
      <vt:lpstr>  Problem @ 2GHz : Recap</vt:lpstr>
      <vt:lpstr>Problem @ 2GHz – Recap</vt:lpstr>
      <vt:lpstr>  Problem @ 2GHz : Solution</vt:lpstr>
      <vt:lpstr>Problem @ 2GHz – Solution</vt:lpstr>
      <vt:lpstr>PowerPoint Presentation</vt:lpstr>
      <vt:lpstr>  Quantization : Set up</vt:lpstr>
      <vt:lpstr> Quantization – Set Up</vt:lpstr>
      <vt:lpstr>  Quantization : Results</vt:lpstr>
      <vt:lpstr>Quantization – Results – 10-bit ADC</vt:lpstr>
      <vt:lpstr>Quantization – Results – 12-bit ADC</vt:lpstr>
      <vt:lpstr>Quantization – Results – 14-bit ADC</vt:lpstr>
      <vt:lpstr>Quantization – Results – 16-bit ADC</vt:lpstr>
      <vt:lpstr>Quantization – Results</vt:lpstr>
      <vt:lpstr>Quantization – Results</vt:lpstr>
      <vt:lpstr>PowerPoint Presentation</vt:lpstr>
      <vt:lpstr>  Precision of Coefficients: Set up</vt:lpstr>
      <vt:lpstr> Precision of Coefficients – Set Up</vt:lpstr>
      <vt:lpstr>PowerPoint Presentation</vt:lpstr>
      <vt:lpstr> Final Checking – Set Up (Review)</vt:lpstr>
      <vt:lpstr>Final Checking – Results – Problem @ 2GHz (Review)</vt:lpstr>
      <vt:lpstr>  Problem @ 2GHz : Solution #1  Changing Windowing</vt:lpstr>
      <vt:lpstr> Final Checking – Set Up (Review)</vt:lpstr>
      <vt:lpstr>PowerPoint Presentation</vt:lpstr>
      <vt:lpstr>PowerPoint Presentation</vt:lpstr>
      <vt:lpstr>PowerPoint Presentation</vt:lpstr>
      <vt:lpstr>  Final Checking: Results</vt:lpstr>
      <vt:lpstr>Final Checking - Results</vt:lpstr>
      <vt:lpstr>Final Checking - Results</vt:lpstr>
      <vt:lpstr>  Final Checking: Problem @1.5 GHz</vt:lpstr>
      <vt:lpstr>  Final Checking - Problem @1.5 GHz</vt:lpstr>
      <vt:lpstr>  Final Checking - Problem @1.5 GHz</vt:lpstr>
      <vt:lpstr>  Final Checking - Problem @1.5 GHz</vt:lpstr>
      <vt:lpstr>  Final Checking - Problem @1.5 GHz</vt:lpstr>
      <vt:lpstr>  Final Checking - Problem @1.5 GHz</vt:lpstr>
      <vt:lpstr>  Final Checking: Solution @1.5 GHz</vt:lpstr>
      <vt:lpstr>  Final Checking - Solution @1.5 GHz</vt:lpstr>
      <vt:lpstr>  Final Checking - Solution @1.5 GHz</vt:lpstr>
      <vt:lpstr>  Final Checking: Set Up - Revised</vt:lpstr>
      <vt:lpstr>   Final Checking: Set Up - Revised</vt:lpstr>
      <vt:lpstr>  Final Checking: Results - Revised</vt:lpstr>
      <vt:lpstr>Final Checking – Results - Revised</vt:lpstr>
      <vt:lpstr>  Approaching an ideal calibration: Set Up</vt:lpstr>
      <vt:lpstr> Approaching an ideal calibration: Set Up</vt:lpstr>
      <vt:lpstr>Approaching an ideal calibration: Results</vt:lpstr>
      <vt:lpstr>Approaching an ideal calibration - Results</vt:lpstr>
      <vt:lpstr>  Approaching an ideal calibration: Set Up - Reviewed</vt:lpstr>
      <vt:lpstr> Approaching an ideal calibration: Set Up - Reviewed</vt:lpstr>
      <vt:lpstr>Approaching an ideal calibration – Results - Reviewed</vt:lpstr>
      <vt:lpstr>Approaching an ideal calibration: Problem @1GHz</vt:lpstr>
      <vt:lpstr>Approaching an ideal calibration – Problem @1GHz</vt:lpstr>
      <vt:lpstr>Approaching an ideal calibration – Problem @1GHz</vt:lpstr>
      <vt:lpstr>Approaching an ideal calibration: Solution @1GHz</vt:lpstr>
      <vt:lpstr>Approaching an ideal calibration – Solution @1GHz</vt:lpstr>
      <vt:lpstr>Approaching an ideal calibration – Solution @1GHz</vt:lpstr>
      <vt:lpstr>Approaching an ideal calibration: Problem @2GHz</vt:lpstr>
      <vt:lpstr>Approaching an ideal calibration – Problem @2GHz</vt:lpstr>
      <vt:lpstr> Plans for the next weeks</vt:lpstr>
      <vt:lpstr>Plans for the next weeks </vt:lpstr>
      <vt:lpstr>PowerPoint Presentation</vt:lpstr>
    </vt:vector>
  </TitlesOfParts>
  <Company>Infineon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ristofoli Andrea (DCV DES DOS IP AMS WLS WADC)</dc:creator>
  <cp:lastModifiedBy>Berkay Ipek</cp:lastModifiedBy>
  <cp:revision>88</cp:revision>
  <dcterms:created xsi:type="dcterms:W3CDTF">2023-11-30T10:20:59Z</dcterms:created>
  <dcterms:modified xsi:type="dcterms:W3CDTF">2025-09-19T14:4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D">
    <vt:lpwstr/>
  </property>
  <property fmtid="{D5CDD505-2E9C-101B-9397-08002B2CF9AE}" pid="3" name="DocumentVersion">
    <vt:lpwstr/>
  </property>
  <property fmtid="{D5CDD505-2E9C-101B-9397-08002B2CF9AE}" pid="4" name="Proprietary">
    <vt:lpwstr/>
  </property>
  <property fmtid="{D5CDD505-2E9C-101B-9397-08002B2CF9AE}" pid="5" name="ConfidentialityMarking">
    <vt:lpwstr>restricted</vt:lpwstr>
  </property>
  <property fmtid="{D5CDD505-2E9C-101B-9397-08002B2CF9AE}" pid="6" name="AdditionalMarking">
    <vt:lpwstr/>
  </property>
  <property fmtid="{D5CDD505-2E9C-101B-9397-08002B2CF9AE}" pid="7" name="TemplateCompany">
    <vt:lpwstr>IFX</vt:lpwstr>
  </property>
  <property fmtid="{D5CDD505-2E9C-101B-9397-08002B2CF9AE}" pid="8" name="ContentTypeId">
    <vt:lpwstr>0x010100A655AAE9148B404486CBFDD74AD2AA0B</vt:lpwstr>
  </property>
  <property fmtid="{D5CDD505-2E9C-101B-9397-08002B2CF9AE}" pid="9" name="empower.integration.Classification.DocumentId">
    <vt:lpwstr/>
  </property>
  <property fmtid="{D5CDD505-2E9C-101B-9397-08002B2CF9AE}" pid="10" name="empower.integration.Classification.DocumentVersion">
    <vt:lpwstr/>
  </property>
  <property fmtid="{D5CDD505-2E9C-101B-9397-08002B2CF9AE}" pid="11" name="empower.integration.Classification.DocumentOwner">
    <vt:lpwstr/>
  </property>
  <property fmtid="{D5CDD505-2E9C-101B-9397-08002B2CF9AE}" pid="12" name="empower.integration.Classification.ShowFooter">
    <vt:bool>true</vt:bool>
  </property>
  <property fmtid="{D5CDD505-2E9C-101B-9397-08002B2CF9AE}" pid="13" name="empower.integration.Classification.RestrictionLevel">
    <vt:i4>1</vt:i4>
  </property>
  <property fmtid="{D5CDD505-2E9C-101B-9397-08002B2CF9AE}" pid="14" name="empower.integration.Classification.FooterDate">
    <vt:filetime>2023-03-18T12:11:36Z</vt:filetime>
  </property>
  <property fmtid="{D5CDD505-2E9C-101B-9397-08002B2CF9AE}" pid="15" name="empower.integration.Classification.DateFormat">
    <vt:lpwstr>d MMM yyyy</vt:lpwstr>
  </property>
  <property fmtid="{D5CDD505-2E9C-101B-9397-08002B2CF9AE}" pid="16" name="empower.integration.Classification.IsDraft">
    <vt:bool>false</vt:bool>
  </property>
  <property fmtid="{D5CDD505-2E9C-101B-9397-08002B2CF9AE}" pid="17" name="empower.integration.Classification.IsProprietary">
    <vt:bool>false</vt:bool>
  </property>
  <property fmtid="{D5CDD505-2E9C-101B-9397-08002B2CF9AE}" pid="18" name="empower.integration.Classification.HasAdditionalMarking">
    <vt:bool>false</vt:bool>
  </property>
  <property fmtid="{D5CDD505-2E9C-101B-9397-08002B2CF9AE}" pid="19" name="empower.integration.Classification.AdditionalMarking">
    <vt:lpwstr/>
  </property>
  <property fmtid="{D5CDD505-2E9C-101B-9397-08002B2CF9AE}" pid="20" name="empower.integration.Classification.IsEmpowerClassified">
    <vt:bool>true</vt:bool>
  </property>
  <property fmtid="{D5CDD505-2E9C-101B-9397-08002B2CF9AE}" pid="21" name="empower_migrated_document">
    <vt:lpwstr>true</vt:lpwstr>
  </property>
  <property fmtid="{D5CDD505-2E9C-101B-9397-08002B2CF9AE}" pid="22" name="MSIP_Label_a15a25aa-e944-415d-b7a7-40f6b9180b6b_Enabled">
    <vt:lpwstr>true</vt:lpwstr>
  </property>
  <property fmtid="{D5CDD505-2E9C-101B-9397-08002B2CF9AE}" pid="23" name="MSIP_Label_a15a25aa-e944-415d-b7a7-40f6b9180b6b_SetDate">
    <vt:lpwstr>2023-03-24T13:40:28Z</vt:lpwstr>
  </property>
  <property fmtid="{D5CDD505-2E9C-101B-9397-08002B2CF9AE}" pid="24" name="MSIP_Label_a15a25aa-e944-415d-b7a7-40f6b9180b6b_Method">
    <vt:lpwstr>Standard</vt:lpwstr>
  </property>
  <property fmtid="{D5CDD505-2E9C-101B-9397-08002B2CF9AE}" pid="25" name="MSIP_Label_a15a25aa-e944-415d-b7a7-40f6b9180b6b_Name">
    <vt:lpwstr>a15a25aa-e944-415d-b7a7-40f6b9180b6b</vt:lpwstr>
  </property>
  <property fmtid="{D5CDD505-2E9C-101B-9397-08002B2CF9AE}" pid="26" name="MSIP_Label_a15a25aa-e944-415d-b7a7-40f6b9180b6b_SiteId">
    <vt:lpwstr>eeb8d0e8-3544-41d3-aac6-934c309faf5a</vt:lpwstr>
  </property>
  <property fmtid="{D5CDD505-2E9C-101B-9397-08002B2CF9AE}" pid="27" name="MSIP_Label_a15a25aa-e944-415d-b7a7-40f6b9180b6b_ActionId">
    <vt:lpwstr>73b1d637-b020-4fda-a205-ff5e02ff8705</vt:lpwstr>
  </property>
  <property fmtid="{D5CDD505-2E9C-101B-9397-08002B2CF9AE}" pid="28" name="MSIP_Label_a15a25aa-e944-415d-b7a7-40f6b9180b6b_ContentBits">
    <vt:lpwstr>0</vt:lpwstr>
  </property>
</Properties>
</file>